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7" r:id="rId2"/>
    <p:sldId id="273" r:id="rId3"/>
    <p:sldId id="284" r:id="rId4"/>
    <p:sldId id="451" r:id="rId5"/>
    <p:sldId id="259" r:id="rId6"/>
    <p:sldId id="265" r:id="rId7"/>
    <p:sldId id="264" r:id="rId8"/>
    <p:sldId id="272" r:id="rId9"/>
    <p:sldId id="278" r:id="rId10"/>
    <p:sldId id="268" r:id="rId11"/>
    <p:sldId id="269" r:id="rId12"/>
    <p:sldId id="274" r:id="rId13"/>
    <p:sldId id="275" r:id="rId14"/>
    <p:sldId id="441" r:id="rId15"/>
    <p:sldId id="448" r:id="rId16"/>
    <p:sldId id="439" r:id="rId17"/>
    <p:sldId id="263" r:id="rId18"/>
    <p:sldId id="447" r:id="rId19"/>
    <p:sldId id="267" r:id="rId20"/>
    <p:sldId id="266" r:id="rId21"/>
    <p:sldId id="283" r:id="rId22"/>
    <p:sldId id="279" r:id="rId23"/>
    <p:sldId id="282" r:id="rId24"/>
    <p:sldId id="276" r:id="rId25"/>
    <p:sldId id="270" r:id="rId26"/>
    <p:sldId id="44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569"/>
    <p:restoredTop sz="76417" autoAdjust="0"/>
  </p:normalViewPr>
  <p:slideViewPr>
    <p:cSldViewPr snapToGrid="0">
      <p:cViewPr>
        <p:scale>
          <a:sx n="75" d="100"/>
          <a:sy n="75" d="100"/>
        </p:scale>
        <p:origin x="144" y="376"/>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iagrams/_rels/data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image" Target="../media/image5.jpg"/><Relationship Id="rId4" Type="http://schemas.openxmlformats.org/officeDocument/2006/relationships/image" Target="../media/image8.jpg"/></Relationships>
</file>

<file path=ppt/diagrams/_rels/data4.xml.rels><?xml version="1.0" encoding="UTF-8" standalone="yes"?>
<Relationships xmlns="http://schemas.openxmlformats.org/package/2006/relationships"><Relationship Id="rId1" Type="http://schemas.openxmlformats.org/officeDocument/2006/relationships/image" Target="../media/image9.gif"/></Relationships>
</file>

<file path=ppt/diagrams/_rels/data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_rels/drawing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image" Target="../media/image5.jpg"/><Relationship Id="rId4" Type="http://schemas.openxmlformats.org/officeDocument/2006/relationships/image" Target="../media/image8.jpg"/></Relationships>
</file>

<file path=ppt/diagrams/_rels/drawing4.xml.rels><?xml version="1.0" encoding="UTF-8" standalone="yes"?>
<Relationships xmlns="http://schemas.openxmlformats.org/package/2006/relationships"><Relationship Id="rId1" Type="http://schemas.openxmlformats.org/officeDocument/2006/relationships/image" Target="../media/image9.gif"/></Relationships>
</file>

<file path=ppt/diagrams/_rels/drawing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21DB8A-3C36-0E4A-AF8A-6F795F282318}"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US"/>
        </a:p>
      </dgm:t>
    </dgm:pt>
    <dgm:pt modelId="{04E754A8-1635-7744-ACA8-D6EAD069693E}">
      <dgm:prSet phldrT="[Text]"/>
      <dgm:spPr/>
      <dgm:t>
        <a:bodyPr/>
        <a:lstStyle/>
        <a:p>
          <a:r>
            <a:rPr lang="en-US" dirty="0"/>
            <a:t>Number of machines sealed</a:t>
          </a:r>
        </a:p>
      </dgm:t>
    </dgm:pt>
    <dgm:pt modelId="{CF3EC6A9-9A81-804E-AD16-32F5119243BF}" type="parTrans" cxnId="{E97C7EEE-64D1-A14E-970A-D09405C38B18}">
      <dgm:prSet/>
      <dgm:spPr/>
      <dgm:t>
        <a:bodyPr/>
        <a:lstStyle/>
        <a:p>
          <a:endParaRPr lang="en-US"/>
        </a:p>
      </dgm:t>
    </dgm:pt>
    <dgm:pt modelId="{C7D1743F-F959-F544-8B83-D85133477C1A}" type="sibTrans" cxnId="{E97C7EEE-64D1-A14E-970A-D09405C38B18}">
      <dgm:prSet/>
      <dgm:spPr/>
      <dgm:t>
        <a:bodyPr/>
        <a:lstStyle/>
        <a:p>
          <a:endParaRPr lang="en-US"/>
        </a:p>
      </dgm:t>
    </dgm:pt>
    <dgm:pt modelId="{B75ED9F6-EA13-E244-B3FC-6CAD842FACE1}">
      <dgm:prSet phldrT="[Text]"/>
      <dgm:spPr/>
      <dgm:t>
        <a:bodyPr/>
        <a:lstStyle/>
        <a:p>
          <a:r>
            <a:rPr lang="en-US" dirty="0"/>
            <a:t>Number of visits to PHCs</a:t>
          </a:r>
        </a:p>
      </dgm:t>
    </dgm:pt>
    <dgm:pt modelId="{41F79622-1AA5-8E4B-85C3-9FE34DA757DA}" type="parTrans" cxnId="{A41A1D0B-267F-CD43-ACE2-3BD828ED90FE}">
      <dgm:prSet/>
      <dgm:spPr/>
      <dgm:t>
        <a:bodyPr/>
        <a:lstStyle/>
        <a:p>
          <a:endParaRPr lang="en-US"/>
        </a:p>
      </dgm:t>
    </dgm:pt>
    <dgm:pt modelId="{641AB77B-F2A5-414A-B0B8-80B0A9E44D6D}" type="sibTrans" cxnId="{A41A1D0B-267F-CD43-ACE2-3BD828ED90FE}">
      <dgm:prSet/>
      <dgm:spPr/>
      <dgm:t>
        <a:bodyPr/>
        <a:lstStyle/>
        <a:p>
          <a:endParaRPr lang="en-US"/>
        </a:p>
      </dgm:t>
    </dgm:pt>
    <dgm:pt modelId="{30C4809A-D4A9-224A-9422-94F1B619A36F}">
      <dgm:prSet phldrT="[Text]"/>
      <dgm:spPr/>
      <dgm:t>
        <a:bodyPr/>
        <a:lstStyle/>
        <a:p>
          <a:r>
            <a:rPr lang="en-US" dirty="0"/>
            <a:t>Infrastructure</a:t>
          </a:r>
          <a:r>
            <a:rPr lang="en-US"/>
            <a:t>/ Medicines</a:t>
          </a:r>
          <a:endParaRPr lang="en-US" dirty="0"/>
        </a:p>
      </dgm:t>
    </dgm:pt>
    <dgm:pt modelId="{0CDC53AE-69E7-BE46-9E18-B536D069E668}" type="parTrans" cxnId="{9FCFACE7-3C84-D540-B514-21B71C6C61A0}">
      <dgm:prSet/>
      <dgm:spPr/>
      <dgm:t>
        <a:bodyPr/>
        <a:lstStyle/>
        <a:p>
          <a:endParaRPr lang="en-US"/>
        </a:p>
      </dgm:t>
    </dgm:pt>
    <dgm:pt modelId="{74FE037D-AB64-B943-A73B-030D230DA73F}" type="sibTrans" cxnId="{9FCFACE7-3C84-D540-B514-21B71C6C61A0}">
      <dgm:prSet/>
      <dgm:spPr/>
      <dgm:t>
        <a:bodyPr/>
        <a:lstStyle/>
        <a:p>
          <a:endParaRPr lang="en-US"/>
        </a:p>
      </dgm:t>
    </dgm:pt>
    <dgm:pt modelId="{A0414B48-9344-FE4F-82AD-461990FFE805}">
      <dgm:prSet phldrT="[Text]"/>
      <dgm:spPr/>
      <dgm:t>
        <a:bodyPr/>
        <a:lstStyle/>
        <a:p>
          <a:r>
            <a:rPr lang="en-US" dirty="0"/>
            <a:t>Staff</a:t>
          </a:r>
        </a:p>
      </dgm:t>
    </dgm:pt>
    <dgm:pt modelId="{648D915D-D45C-0F45-B758-72BF2DF32A5D}" type="parTrans" cxnId="{518EED8E-B6B2-6445-8085-33F7259CBCE6}">
      <dgm:prSet/>
      <dgm:spPr/>
      <dgm:t>
        <a:bodyPr/>
        <a:lstStyle/>
        <a:p>
          <a:endParaRPr lang="en-US"/>
        </a:p>
      </dgm:t>
    </dgm:pt>
    <dgm:pt modelId="{5DEEF273-88E4-254D-AB57-294296447B68}" type="sibTrans" cxnId="{518EED8E-B6B2-6445-8085-33F7259CBCE6}">
      <dgm:prSet/>
      <dgm:spPr/>
      <dgm:t>
        <a:bodyPr/>
        <a:lstStyle/>
        <a:p>
          <a:endParaRPr lang="en-US"/>
        </a:p>
      </dgm:t>
    </dgm:pt>
    <dgm:pt modelId="{14D342DA-77FA-1948-914D-06A3980A64FA}">
      <dgm:prSet phldrT="[Text]"/>
      <dgm:spPr/>
      <dgm:t>
        <a:bodyPr/>
        <a:lstStyle/>
        <a:p>
          <a:r>
            <a:rPr lang="en-US" dirty="0"/>
            <a:t>Number of review meetings</a:t>
          </a:r>
        </a:p>
      </dgm:t>
    </dgm:pt>
    <dgm:pt modelId="{71FA6826-B728-1642-9ED3-534E0BC98E80}" type="parTrans" cxnId="{CC448BAD-9112-8E41-9DCA-B2ADA5EC10CD}">
      <dgm:prSet/>
      <dgm:spPr/>
      <dgm:t>
        <a:bodyPr/>
        <a:lstStyle/>
        <a:p>
          <a:endParaRPr lang="en-US"/>
        </a:p>
      </dgm:t>
    </dgm:pt>
    <dgm:pt modelId="{3BC774F5-5E2F-1A4B-B619-990B2614A0FE}" type="sibTrans" cxnId="{CC448BAD-9112-8E41-9DCA-B2ADA5EC10CD}">
      <dgm:prSet/>
      <dgm:spPr/>
      <dgm:t>
        <a:bodyPr/>
        <a:lstStyle/>
        <a:p>
          <a:endParaRPr lang="en-US"/>
        </a:p>
      </dgm:t>
    </dgm:pt>
    <dgm:pt modelId="{37DD5CAF-4533-8142-8AC3-BC88B24D4EA3}" type="pres">
      <dgm:prSet presAssocID="{1521DB8A-3C36-0E4A-AF8A-6F795F282318}" presName="Name0" presStyleCnt="0">
        <dgm:presLayoutVars>
          <dgm:chMax val="7"/>
          <dgm:chPref val="7"/>
          <dgm:dir/>
        </dgm:presLayoutVars>
      </dgm:prSet>
      <dgm:spPr/>
    </dgm:pt>
    <dgm:pt modelId="{0C8E60C2-1D3B-F742-8986-4CC028799F7E}" type="pres">
      <dgm:prSet presAssocID="{1521DB8A-3C36-0E4A-AF8A-6F795F282318}" presName="Name1" presStyleCnt="0"/>
      <dgm:spPr/>
    </dgm:pt>
    <dgm:pt modelId="{EDEEC512-3C88-1046-A41C-619D8D24A828}" type="pres">
      <dgm:prSet presAssocID="{1521DB8A-3C36-0E4A-AF8A-6F795F282318}" presName="cycle" presStyleCnt="0"/>
      <dgm:spPr/>
    </dgm:pt>
    <dgm:pt modelId="{AD548CE6-950C-DE4E-885D-17F732202745}" type="pres">
      <dgm:prSet presAssocID="{1521DB8A-3C36-0E4A-AF8A-6F795F282318}" presName="srcNode" presStyleLbl="node1" presStyleIdx="0" presStyleCnt="5"/>
      <dgm:spPr/>
    </dgm:pt>
    <dgm:pt modelId="{08269C89-B78F-2D40-9500-53AD6D8A551D}" type="pres">
      <dgm:prSet presAssocID="{1521DB8A-3C36-0E4A-AF8A-6F795F282318}" presName="conn" presStyleLbl="parChTrans1D2" presStyleIdx="0" presStyleCnt="1"/>
      <dgm:spPr/>
    </dgm:pt>
    <dgm:pt modelId="{070D5A36-B7C3-3441-97B6-D93F062B10C8}" type="pres">
      <dgm:prSet presAssocID="{1521DB8A-3C36-0E4A-AF8A-6F795F282318}" presName="extraNode" presStyleLbl="node1" presStyleIdx="0" presStyleCnt="5"/>
      <dgm:spPr/>
    </dgm:pt>
    <dgm:pt modelId="{AD80F136-838A-7F41-8B70-5C476184EAF0}" type="pres">
      <dgm:prSet presAssocID="{1521DB8A-3C36-0E4A-AF8A-6F795F282318}" presName="dstNode" presStyleLbl="node1" presStyleIdx="0" presStyleCnt="5"/>
      <dgm:spPr/>
    </dgm:pt>
    <dgm:pt modelId="{1A795B18-10A3-AC43-BC90-45CB79F4576C}" type="pres">
      <dgm:prSet presAssocID="{A0414B48-9344-FE4F-82AD-461990FFE805}" presName="text_1" presStyleLbl="node1" presStyleIdx="0" presStyleCnt="5">
        <dgm:presLayoutVars>
          <dgm:bulletEnabled val="1"/>
        </dgm:presLayoutVars>
      </dgm:prSet>
      <dgm:spPr/>
    </dgm:pt>
    <dgm:pt modelId="{C9B4BD0A-8529-8844-9C3D-2EE9662A78C9}" type="pres">
      <dgm:prSet presAssocID="{A0414B48-9344-FE4F-82AD-461990FFE805}" presName="accent_1" presStyleCnt="0"/>
      <dgm:spPr/>
    </dgm:pt>
    <dgm:pt modelId="{EF397313-49C7-AA44-AC5E-B3ECEB99B67A}" type="pres">
      <dgm:prSet presAssocID="{A0414B48-9344-FE4F-82AD-461990FFE805}" presName="accentRepeatNode" presStyleLbl="solidFgAcc1" presStyleIdx="0" presStyleCnt="5"/>
      <dgm:spPr/>
    </dgm:pt>
    <dgm:pt modelId="{0C97D334-FCDB-D04A-8327-AEE5D68FE9D6}" type="pres">
      <dgm:prSet presAssocID="{30C4809A-D4A9-224A-9422-94F1B619A36F}" presName="text_2" presStyleLbl="node1" presStyleIdx="1" presStyleCnt="5">
        <dgm:presLayoutVars>
          <dgm:bulletEnabled val="1"/>
        </dgm:presLayoutVars>
      </dgm:prSet>
      <dgm:spPr/>
    </dgm:pt>
    <dgm:pt modelId="{441965BC-C3CF-7F4C-98FF-F107FBAD0608}" type="pres">
      <dgm:prSet presAssocID="{30C4809A-D4A9-224A-9422-94F1B619A36F}" presName="accent_2" presStyleCnt="0"/>
      <dgm:spPr/>
    </dgm:pt>
    <dgm:pt modelId="{1120ACAB-9E2C-A242-8C31-16553FBC3A66}" type="pres">
      <dgm:prSet presAssocID="{30C4809A-D4A9-224A-9422-94F1B619A36F}" presName="accentRepeatNode" presStyleLbl="solidFgAcc1" presStyleIdx="1" presStyleCnt="5"/>
      <dgm:spPr/>
    </dgm:pt>
    <dgm:pt modelId="{F3E28904-4A59-C247-8D62-38381BF270D0}" type="pres">
      <dgm:prSet presAssocID="{B75ED9F6-EA13-E244-B3FC-6CAD842FACE1}" presName="text_3" presStyleLbl="node1" presStyleIdx="2" presStyleCnt="5">
        <dgm:presLayoutVars>
          <dgm:bulletEnabled val="1"/>
        </dgm:presLayoutVars>
      </dgm:prSet>
      <dgm:spPr/>
    </dgm:pt>
    <dgm:pt modelId="{8B854188-8E1D-3743-81AB-DD68EA598FD8}" type="pres">
      <dgm:prSet presAssocID="{B75ED9F6-EA13-E244-B3FC-6CAD842FACE1}" presName="accent_3" presStyleCnt="0"/>
      <dgm:spPr/>
    </dgm:pt>
    <dgm:pt modelId="{8BBB234E-B123-6A45-8CF5-746D1FC785F9}" type="pres">
      <dgm:prSet presAssocID="{B75ED9F6-EA13-E244-B3FC-6CAD842FACE1}" presName="accentRepeatNode" presStyleLbl="solidFgAcc1" presStyleIdx="2" presStyleCnt="5"/>
      <dgm:spPr/>
    </dgm:pt>
    <dgm:pt modelId="{2E99EB29-25D9-D14C-A14D-513306CF2087}" type="pres">
      <dgm:prSet presAssocID="{14D342DA-77FA-1948-914D-06A3980A64FA}" presName="text_4" presStyleLbl="node1" presStyleIdx="3" presStyleCnt="5">
        <dgm:presLayoutVars>
          <dgm:bulletEnabled val="1"/>
        </dgm:presLayoutVars>
      </dgm:prSet>
      <dgm:spPr/>
    </dgm:pt>
    <dgm:pt modelId="{16C6D7C1-60B0-214C-8934-32A09BAC2758}" type="pres">
      <dgm:prSet presAssocID="{14D342DA-77FA-1948-914D-06A3980A64FA}" presName="accent_4" presStyleCnt="0"/>
      <dgm:spPr/>
    </dgm:pt>
    <dgm:pt modelId="{AA680B59-3424-1C4C-9949-20CE62E2F7B2}" type="pres">
      <dgm:prSet presAssocID="{14D342DA-77FA-1948-914D-06A3980A64FA}" presName="accentRepeatNode" presStyleLbl="solidFgAcc1" presStyleIdx="3" presStyleCnt="5"/>
      <dgm:spPr/>
    </dgm:pt>
    <dgm:pt modelId="{E986E5D8-7B77-BC4A-9F86-34FAAB77B0DE}" type="pres">
      <dgm:prSet presAssocID="{04E754A8-1635-7744-ACA8-D6EAD069693E}" presName="text_5" presStyleLbl="node1" presStyleIdx="4" presStyleCnt="5">
        <dgm:presLayoutVars>
          <dgm:bulletEnabled val="1"/>
        </dgm:presLayoutVars>
      </dgm:prSet>
      <dgm:spPr/>
    </dgm:pt>
    <dgm:pt modelId="{C08C6A58-38CA-7945-A6EE-328B8EA0C330}" type="pres">
      <dgm:prSet presAssocID="{04E754A8-1635-7744-ACA8-D6EAD069693E}" presName="accent_5" presStyleCnt="0"/>
      <dgm:spPr/>
    </dgm:pt>
    <dgm:pt modelId="{BCD5FCC3-9F3F-324B-BC69-075D2BE81714}" type="pres">
      <dgm:prSet presAssocID="{04E754A8-1635-7744-ACA8-D6EAD069693E}" presName="accentRepeatNode" presStyleLbl="solidFgAcc1" presStyleIdx="4" presStyleCnt="5"/>
      <dgm:spPr/>
    </dgm:pt>
  </dgm:ptLst>
  <dgm:cxnLst>
    <dgm:cxn modelId="{A41A1D0B-267F-CD43-ACE2-3BD828ED90FE}" srcId="{1521DB8A-3C36-0E4A-AF8A-6F795F282318}" destId="{B75ED9F6-EA13-E244-B3FC-6CAD842FACE1}" srcOrd="2" destOrd="0" parTransId="{41F79622-1AA5-8E4B-85C3-9FE34DA757DA}" sibTransId="{641AB77B-F2A5-414A-B0B8-80B0A9E44D6D}"/>
    <dgm:cxn modelId="{01D1E80C-9E92-FC41-A33F-BE55D7EFDDB5}" type="presOf" srcId="{A0414B48-9344-FE4F-82AD-461990FFE805}" destId="{1A795B18-10A3-AC43-BC90-45CB79F4576C}" srcOrd="0" destOrd="0" presId="urn:microsoft.com/office/officeart/2008/layout/VerticalCurvedList"/>
    <dgm:cxn modelId="{27296F29-4E45-474B-AACC-A919F9E282DD}" type="presOf" srcId="{5DEEF273-88E4-254D-AB57-294296447B68}" destId="{08269C89-B78F-2D40-9500-53AD6D8A551D}" srcOrd="0" destOrd="0" presId="urn:microsoft.com/office/officeart/2008/layout/VerticalCurvedList"/>
    <dgm:cxn modelId="{96AA2832-E32E-5543-AE95-5A75033A06D2}" type="presOf" srcId="{04E754A8-1635-7744-ACA8-D6EAD069693E}" destId="{E986E5D8-7B77-BC4A-9F86-34FAAB77B0DE}" srcOrd="0" destOrd="0" presId="urn:microsoft.com/office/officeart/2008/layout/VerticalCurvedList"/>
    <dgm:cxn modelId="{A8A06640-F6F9-3042-B29A-22F7D5D8CF87}" type="presOf" srcId="{30C4809A-D4A9-224A-9422-94F1B619A36F}" destId="{0C97D334-FCDB-D04A-8327-AEE5D68FE9D6}" srcOrd="0" destOrd="0" presId="urn:microsoft.com/office/officeart/2008/layout/VerticalCurvedList"/>
    <dgm:cxn modelId="{518EED8E-B6B2-6445-8085-33F7259CBCE6}" srcId="{1521DB8A-3C36-0E4A-AF8A-6F795F282318}" destId="{A0414B48-9344-FE4F-82AD-461990FFE805}" srcOrd="0" destOrd="0" parTransId="{648D915D-D45C-0F45-B758-72BF2DF32A5D}" sibTransId="{5DEEF273-88E4-254D-AB57-294296447B68}"/>
    <dgm:cxn modelId="{CC448BAD-9112-8E41-9DCA-B2ADA5EC10CD}" srcId="{1521DB8A-3C36-0E4A-AF8A-6F795F282318}" destId="{14D342DA-77FA-1948-914D-06A3980A64FA}" srcOrd="3" destOrd="0" parTransId="{71FA6826-B728-1642-9ED3-534E0BC98E80}" sibTransId="{3BC774F5-5E2F-1A4B-B619-990B2614A0FE}"/>
    <dgm:cxn modelId="{AB5FFFB5-CDCE-F14C-9A4D-A4C9C1025121}" type="presOf" srcId="{1521DB8A-3C36-0E4A-AF8A-6F795F282318}" destId="{37DD5CAF-4533-8142-8AC3-BC88B24D4EA3}" srcOrd="0" destOrd="0" presId="urn:microsoft.com/office/officeart/2008/layout/VerticalCurvedList"/>
    <dgm:cxn modelId="{8F384FCC-E1A1-3C47-B0B3-BDE0076719B4}" type="presOf" srcId="{14D342DA-77FA-1948-914D-06A3980A64FA}" destId="{2E99EB29-25D9-D14C-A14D-513306CF2087}" srcOrd="0" destOrd="0" presId="urn:microsoft.com/office/officeart/2008/layout/VerticalCurvedList"/>
    <dgm:cxn modelId="{80A26EE1-03BF-924D-818B-DFD1FF5BA846}" type="presOf" srcId="{B75ED9F6-EA13-E244-B3FC-6CAD842FACE1}" destId="{F3E28904-4A59-C247-8D62-38381BF270D0}" srcOrd="0" destOrd="0" presId="urn:microsoft.com/office/officeart/2008/layout/VerticalCurvedList"/>
    <dgm:cxn modelId="{9FCFACE7-3C84-D540-B514-21B71C6C61A0}" srcId="{1521DB8A-3C36-0E4A-AF8A-6F795F282318}" destId="{30C4809A-D4A9-224A-9422-94F1B619A36F}" srcOrd="1" destOrd="0" parTransId="{0CDC53AE-69E7-BE46-9E18-B536D069E668}" sibTransId="{74FE037D-AB64-B943-A73B-030D230DA73F}"/>
    <dgm:cxn modelId="{E97C7EEE-64D1-A14E-970A-D09405C38B18}" srcId="{1521DB8A-3C36-0E4A-AF8A-6F795F282318}" destId="{04E754A8-1635-7744-ACA8-D6EAD069693E}" srcOrd="4" destOrd="0" parTransId="{CF3EC6A9-9A81-804E-AD16-32F5119243BF}" sibTransId="{C7D1743F-F959-F544-8B83-D85133477C1A}"/>
    <dgm:cxn modelId="{17F16851-BD24-DA4F-B294-C418CFFF7C63}" type="presParOf" srcId="{37DD5CAF-4533-8142-8AC3-BC88B24D4EA3}" destId="{0C8E60C2-1D3B-F742-8986-4CC028799F7E}" srcOrd="0" destOrd="0" presId="urn:microsoft.com/office/officeart/2008/layout/VerticalCurvedList"/>
    <dgm:cxn modelId="{60988A4E-E1EF-6A49-B833-558B0CEE1DBF}" type="presParOf" srcId="{0C8E60C2-1D3B-F742-8986-4CC028799F7E}" destId="{EDEEC512-3C88-1046-A41C-619D8D24A828}" srcOrd="0" destOrd="0" presId="urn:microsoft.com/office/officeart/2008/layout/VerticalCurvedList"/>
    <dgm:cxn modelId="{0FE5F295-22CC-794C-8918-D49743B5240F}" type="presParOf" srcId="{EDEEC512-3C88-1046-A41C-619D8D24A828}" destId="{AD548CE6-950C-DE4E-885D-17F732202745}" srcOrd="0" destOrd="0" presId="urn:microsoft.com/office/officeart/2008/layout/VerticalCurvedList"/>
    <dgm:cxn modelId="{F5CCB3EA-FE3E-A143-8461-3EA4942FFADD}" type="presParOf" srcId="{EDEEC512-3C88-1046-A41C-619D8D24A828}" destId="{08269C89-B78F-2D40-9500-53AD6D8A551D}" srcOrd="1" destOrd="0" presId="urn:microsoft.com/office/officeart/2008/layout/VerticalCurvedList"/>
    <dgm:cxn modelId="{12DAF7A0-7A91-4F44-BDEF-069BC601B64A}" type="presParOf" srcId="{EDEEC512-3C88-1046-A41C-619D8D24A828}" destId="{070D5A36-B7C3-3441-97B6-D93F062B10C8}" srcOrd="2" destOrd="0" presId="urn:microsoft.com/office/officeart/2008/layout/VerticalCurvedList"/>
    <dgm:cxn modelId="{ADB1437A-765B-5D48-9471-3C14AB156E37}" type="presParOf" srcId="{EDEEC512-3C88-1046-A41C-619D8D24A828}" destId="{AD80F136-838A-7F41-8B70-5C476184EAF0}" srcOrd="3" destOrd="0" presId="urn:microsoft.com/office/officeart/2008/layout/VerticalCurvedList"/>
    <dgm:cxn modelId="{6689A960-E3E4-7A47-93C4-1B13CD318F8E}" type="presParOf" srcId="{0C8E60C2-1D3B-F742-8986-4CC028799F7E}" destId="{1A795B18-10A3-AC43-BC90-45CB79F4576C}" srcOrd="1" destOrd="0" presId="urn:microsoft.com/office/officeart/2008/layout/VerticalCurvedList"/>
    <dgm:cxn modelId="{2934E618-3513-B242-B54E-80E5CC071389}" type="presParOf" srcId="{0C8E60C2-1D3B-F742-8986-4CC028799F7E}" destId="{C9B4BD0A-8529-8844-9C3D-2EE9662A78C9}" srcOrd="2" destOrd="0" presId="urn:microsoft.com/office/officeart/2008/layout/VerticalCurvedList"/>
    <dgm:cxn modelId="{207087B0-D0B8-BF47-A832-A8D62E0E0B49}" type="presParOf" srcId="{C9B4BD0A-8529-8844-9C3D-2EE9662A78C9}" destId="{EF397313-49C7-AA44-AC5E-B3ECEB99B67A}" srcOrd="0" destOrd="0" presId="urn:microsoft.com/office/officeart/2008/layout/VerticalCurvedList"/>
    <dgm:cxn modelId="{76EA19F1-18EF-9B44-8AB5-55C88EC6D33D}" type="presParOf" srcId="{0C8E60C2-1D3B-F742-8986-4CC028799F7E}" destId="{0C97D334-FCDB-D04A-8327-AEE5D68FE9D6}" srcOrd="3" destOrd="0" presId="urn:microsoft.com/office/officeart/2008/layout/VerticalCurvedList"/>
    <dgm:cxn modelId="{3B92566B-0B0E-0645-849C-9085C2DBFB86}" type="presParOf" srcId="{0C8E60C2-1D3B-F742-8986-4CC028799F7E}" destId="{441965BC-C3CF-7F4C-98FF-F107FBAD0608}" srcOrd="4" destOrd="0" presId="urn:microsoft.com/office/officeart/2008/layout/VerticalCurvedList"/>
    <dgm:cxn modelId="{214660D5-2815-B046-A04E-01783959F924}" type="presParOf" srcId="{441965BC-C3CF-7F4C-98FF-F107FBAD0608}" destId="{1120ACAB-9E2C-A242-8C31-16553FBC3A66}" srcOrd="0" destOrd="0" presId="urn:microsoft.com/office/officeart/2008/layout/VerticalCurvedList"/>
    <dgm:cxn modelId="{7D262597-3D0E-9F49-9E9E-71FA1F9AD492}" type="presParOf" srcId="{0C8E60C2-1D3B-F742-8986-4CC028799F7E}" destId="{F3E28904-4A59-C247-8D62-38381BF270D0}" srcOrd="5" destOrd="0" presId="urn:microsoft.com/office/officeart/2008/layout/VerticalCurvedList"/>
    <dgm:cxn modelId="{8BC7A7E3-1394-8340-8906-AB55ACAE4355}" type="presParOf" srcId="{0C8E60C2-1D3B-F742-8986-4CC028799F7E}" destId="{8B854188-8E1D-3743-81AB-DD68EA598FD8}" srcOrd="6" destOrd="0" presId="urn:microsoft.com/office/officeart/2008/layout/VerticalCurvedList"/>
    <dgm:cxn modelId="{B11E401C-0E23-ED46-B82E-8B60E210C9A6}" type="presParOf" srcId="{8B854188-8E1D-3743-81AB-DD68EA598FD8}" destId="{8BBB234E-B123-6A45-8CF5-746D1FC785F9}" srcOrd="0" destOrd="0" presId="urn:microsoft.com/office/officeart/2008/layout/VerticalCurvedList"/>
    <dgm:cxn modelId="{2384111C-7B20-D14A-AC8B-B9D74CE6B311}" type="presParOf" srcId="{0C8E60C2-1D3B-F742-8986-4CC028799F7E}" destId="{2E99EB29-25D9-D14C-A14D-513306CF2087}" srcOrd="7" destOrd="0" presId="urn:microsoft.com/office/officeart/2008/layout/VerticalCurvedList"/>
    <dgm:cxn modelId="{A25DF4DA-C533-D84C-AB7A-433D34AD6CD6}" type="presParOf" srcId="{0C8E60C2-1D3B-F742-8986-4CC028799F7E}" destId="{16C6D7C1-60B0-214C-8934-32A09BAC2758}" srcOrd="8" destOrd="0" presId="urn:microsoft.com/office/officeart/2008/layout/VerticalCurvedList"/>
    <dgm:cxn modelId="{9385BDE3-4001-9A4F-9ED2-7C301AC5772D}" type="presParOf" srcId="{16C6D7C1-60B0-214C-8934-32A09BAC2758}" destId="{AA680B59-3424-1C4C-9949-20CE62E2F7B2}" srcOrd="0" destOrd="0" presId="urn:microsoft.com/office/officeart/2008/layout/VerticalCurvedList"/>
    <dgm:cxn modelId="{0DCA7110-2E5B-1C4F-B229-5DE62168838D}" type="presParOf" srcId="{0C8E60C2-1D3B-F742-8986-4CC028799F7E}" destId="{E986E5D8-7B77-BC4A-9F86-34FAAB77B0DE}" srcOrd="9" destOrd="0" presId="urn:microsoft.com/office/officeart/2008/layout/VerticalCurvedList"/>
    <dgm:cxn modelId="{1E97D341-FC69-F043-AD22-6D0F33354235}" type="presParOf" srcId="{0C8E60C2-1D3B-F742-8986-4CC028799F7E}" destId="{C08C6A58-38CA-7945-A6EE-328B8EA0C330}" srcOrd="10" destOrd="0" presId="urn:microsoft.com/office/officeart/2008/layout/VerticalCurvedList"/>
    <dgm:cxn modelId="{7D232E30-6D6A-EB48-AD93-49C25CB5E07F}" type="presParOf" srcId="{C08C6A58-38CA-7945-A6EE-328B8EA0C330}" destId="{BCD5FCC3-9F3F-324B-BC69-075D2BE8171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A93CD04-4CA6-4645-8164-779C74952296}" type="doc">
      <dgm:prSet loTypeId="urn:microsoft.com/office/officeart/2008/layout/VerticalCurvedList" loCatId="list" qsTypeId="urn:microsoft.com/office/officeart/2005/8/quickstyle/3d2" qsCatId="3D" csTypeId="urn:microsoft.com/office/officeart/2005/8/colors/colorful1" csCatId="colorful" phldr="1"/>
      <dgm:spPr/>
      <dgm:t>
        <a:bodyPr/>
        <a:lstStyle/>
        <a:p>
          <a:endParaRPr lang="en-US"/>
        </a:p>
      </dgm:t>
    </dgm:pt>
    <dgm:pt modelId="{DCF22D7B-DD28-4B07-A4CE-EE61EB8EC788}">
      <dgm:prSet phldrT="[Text]" custT="1"/>
      <dgm:spPr/>
      <dgm:t>
        <a:bodyPr/>
        <a:lstStyle/>
        <a:p>
          <a:pPr>
            <a:lnSpc>
              <a:spcPct val="150000"/>
            </a:lnSpc>
          </a:pPr>
          <a:r>
            <a:rPr lang="en-US" sz="2400" b="0" dirty="0">
              <a:latin typeface="Cambria" panose="02040503050406030204" pitchFamily="18" charset="0"/>
            </a:rPr>
            <a:t>One Stop Health IT solution </a:t>
          </a:r>
        </a:p>
      </dgm:t>
    </dgm:pt>
    <dgm:pt modelId="{E64E14B9-B261-4288-9792-AD674FBBE35A}" type="parTrans" cxnId="{B387F2C3-3E2B-4FBA-8C69-08179E9B090A}">
      <dgm:prSet/>
      <dgm:spPr/>
      <dgm:t>
        <a:bodyPr/>
        <a:lstStyle/>
        <a:p>
          <a:pPr>
            <a:lnSpc>
              <a:spcPct val="150000"/>
            </a:lnSpc>
          </a:pPr>
          <a:endParaRPr lang="en-US" sz="2400" b="0">
            <a:latin typeface="Cambria" panose="02040503050406030204" pitchFamily="18" charset="0"/>
          </a:endParaRPr>
        </a:p>
      </dgm:t>
    </dgm:pt>
    <dgm:pt modelId="{29BA4502-5AAC-4CB9-BF10-CD6B05CFA05C}" type="sibTrans" cxnId="{B387F2C3-3E2B-4FBA-8C69-08179E9B090A}">
      <dgm:prSet/>
      <dgm:spPr/>
      <dgm:t>
        <a:bodyPr/>
        <a:lstStyle/>
        <a:p>
          <a:pPr>
            <a:lnSpc>
              <a:spcPct val="150000"/>
            </a:lnSpc>
          </a:pPr>
          <a:endParaRPr lang="en-US" sz="2400" b="0">
            <a:latin typeface="Cambria" panose="02040503050406030204" pitchFamily="18" charset="0"/>
          </a:endParaRPr>
        </a:p>
      </dgm:t>
    </dgm:pt>
    <dgm:pt modelId="{825E74A0-5CF2-4461-92B7-D74AD3D04DFD}">
      <dgm:prSet custT="1"/>
      <dgm:spPr/>
      <dgm:t>
        <a:bodyPr/>
        <a:lstStyle/>
        <a:p>
          <a:pPr>
            <a:lnSpc>
              <a:spcPct val="150000"/>
            </a:lnSpc>
          </a:pPr>
          <a:r>
            <a:rPr lang="en-US" sz="2400" b="0" dirty="0">
              <a:latin typeface="Cambria" panose="02040503050406030204" pitchFamily="18" charset="0"/>
              <a:cs typeface="Poppins" panose="00000500000000000000" pitchFamily="2" charset="0"/>
            </a:rPr>
            <a:t> Real time-real place-real person data entry for 7+4 indicators</a:t>
          </a:r>
        </a:p>
      </dgm:t>
    </dgm:pt>
    <dgm:pt modelId="{81D2AAAC-4D6E-4714-8320-E372468BE109}" type="parTrans" cxnId="{595728DF-A80E-4D37-AB8E-4EA651F6B027}">
      <dgm:prSet/>
      <dgm:spPr/>
      <dgm:t>
        <a:bodyPr/>
        <a:lstStyle/>
        <a:p>
          <a:pPr>
            <a:lnSpc>
              <a:spcPct val="150000"/>
            </a:lnSpc>
          </a:pPr>
          <a:endParaRPr lang="en-US" sz="2400" b="0">
            <a:latin typeface="Cambria" panose="02040503050406030204" pitchFamily="18" charset="0"/>
          </a:endParaRPr>
        </a:p>
      </dgm:t>
    </dgm:pt>
    <dgm:pt modelId="{66962D7C-5825-4D97-B008-A94369930419}" type="sibTrans" cxnId="{595728DF-A80E-4D37-AB8E-4EA651F6B027}">
      <dgm:prSet/>
      <dgm:spPr/>
      <dgm:t>
        <a:bodyPr/>
        <a:lstStyle/>
        <a:p>
          <a:pPr>
            <a:lnSpc>
              <a:spcPct val="150000"/>
            </a:lnSpc>
          </a:pPr>
          <a:endParaRPr lang="en-US" sz="2400" b="0">
            <a:latin typeface="Cambria" panose="02040503050406030204" pitchFamily="18" charset="0"/>
          </a:endParaRPr>
        </a:p>
      </dgm:t>
    </dgm:pt>
    <dgm:pt modelId="{A6502213-F7C7-4078-9647-93C751552232}">
      <dgm:prSet custT="1"/>
      <dgm:spPr/>
      <dgm:t>
        <a:bodyPr/>
        <a:lstStyle/>
        <a:p>
          <a:pPr rtl="0">
            <a:lnSpc>
              <a:spcPct val="150000"/>
            </a:lnSpc>
          </a:pPr>
          <a:r>
            <a:rPr lang="en-US" sz="2400" b="0" dirty="0">
              <a:latin typeface="Cambria" panose="02040503050406030204" pitchFamily="18" charset="0"/>
              <a:cs typeface="Poppins" panose="00000500000000000000" pitchFamily="2" charset="0"/>
            </a:rPr>
            <a:t> Third generation health data revolution digital real time decision support system</a:t>
          </a:r>
        </a:p>
      </dgm:t>
    </dgm:pt>
    <dgm:pt modelId="{014E2FB2-7898-4350-BBA4-627B969F00C8}" type="parTrans" cxnId="{DD6FE34B-69B7-45EC-A915-ED19E829293D}">
      <dgm:prSet/>
      <dgm:spPr/>
      <dgm:t>
        <a:bodyPr/>
        <a:lstStyle/>
        <a:p>
          <a:pPr>
            <a:lnSpc>
              <a:spcPct val="150000"/>
            </a:lnSpc>
          </a:pPr>
          <a:endParaRPr lang="en-US" sz="2400" b="0">
            <a:latin typeface="Cambria" panose="02040503050406030204" pitchFamily="18" charset="0"/>
          </a:endParaRPr>
        </a:p>
      </dgm:t>
    </dgm:pt>
    <dgm:pt modelId="{91B7F998-5345-4CDF-B00E-2EB93B9C905F}" type="sibTrans" cxnId="{DD6FE34B-69B7-45EC-A915-ED19E829293D}">
      <dgm:prSet/>
      <dgm:spPr/>
      <dgm:t>
        <a:bodyPr/>
        <a:lstStyle/>
        <a:p>
          <a:pPr>
            <a:lnSpc>
              <a:spcPct val="150000"/>
            </a:lnSpc>
          </a:pPr>
          <a:endParaRPr lang="en-US" sz="2400" b="0">
            <a:latin typeface="Cambria" panose="02040503050406030204" pitchFamily="18" charset="0"/>
          </a:endParaRPr>
        </a:p>
      </dgm:t>
    </dgm:pt>
    <dgm:pt modelId="{3047D5C6-9B51-4659-B859-73A6501C2396}">
      <dgm:prSet custT="1"/>
      <dgm:spPr/>
      <dgm:t>
        <a:bodyPr/>
        <a:lstStyle/>
        <a:p>
          <a:pPr rtl="0">
            <a:lnSpc>
              <a:spcPct val="150000"/>
            </a:lnSpc>
          </a:pPr>
          <a:r>
            <a:rPr lang="en-US" sz="2400" b="0" dirty="0">
              <a:latin typeface="Cambria" panose="02040503050406030204" pitchFamily="18" charset="0"/>
              <a:cs typeface="Poppins" panose="00000500000000000000" pitchFamily="2" charset="0"/>
            </a:rPr>
            <a:t>First step in direction of e Health Records</a:t>
          </a:r>
        </a:p>
      </dgm:t>
    </dgm:pt>
    <dgm:pt modelId="{9397DFD5-1447-4D2E-9FCD-8A2DCCB30E46}" type="parTrans" cxnId="{8E6B8E41-0F1A-4A62-8C77-8534248B8461}">
      <dgm:prSet/>
      <dgm:spPr/>
      <dgm:t>
        <a:bodyPr/>
        <a:lstStyle/>
        <a:p>
          <a:pPr>
            <a:lnSpc>
              <a:spcPct val="150000"/>
            </a:lnSpc>
          </a:pPr>
          <a:endParaRPr lang="en-US" sz="2400" b="0">
            <a:latin typeface="Cambria" panose="02040503050406030204" pitchFamily="18" charset="0"/>
          </a:endParaRPr>
        </a:p>
      </dgm:t>
    </dgm:pt>
    <dgm:pt modelId="{DB06AD34-0C39-4D3E-8A3D-F78A641D31D2}" type="sibTrans" cxnId="{8E6B8E41-0F1A-4A62-8C77-8534248B8461}">
      <dgm:prSet/>
      <dgm:spPr/>
      <dgm:t>
        <a:bodyPr/>
        <a:lstStyle/>
        <a:p>
          <a:pPr>
            <a:lnSpc>
              <a:spcPct val="150000"/>
            </a:lnSpc>
          </a:pPr>
          <a:endParaRPr lang="en-US" sz="2400" b="0">
            <a:latin typeface="Cambria" panose="02040503050406030204" pitchFamily="18" charset="0"/>
          </a:endParaRPr>
        </a:p>
      </dgm:t>
    </dgm:pt>
    <dgm:pt modelId="{6622B4CA-E049-43D3-A7AD-8F47F800B22D}" type="pres">
      <dgm:prSet presAssocID="{CA93CD04-4CA6-4645-8164-779C74952296}" presName="Name0" presStyleCnt="0">
        <dgm:presLayoutVars>
          <dgm:chMax val="7"/>
          <dgm:chPref val="7"/>
          <dgm:dir/>
        </dgm:presLayoutVars>
      </dgm:prSet>
      <dgm:spPr/>
    </dgm:pt>
    <dgm:pt modelId="{2BC7258F-0C5F-4FC3-A9A5-8CFF888A28CC}" type="pres">
      <dgm:prSet presAssocID="{CA93CD04-4CA6-4645-8164-779C74952296}" presName="Name1" presStyleCnt="0"/>
      <dgm:spPr/>
    </dgm:pt>
    <dgm:pt modelId="{0F209EE8-4717-4D47-9472-D9B2F00E8053}" type="pres">
      <dgm:prSet presAssocID="{CA93CD04-4CA6-4645-8164-779C74952296}" presName="cycle" presStyleCnt="0"/>
      <dgm:spPr/>
    </dgm:pt>
    <dgm:pt modelId="{FB703C1D-420B-4E4D-A0A8-2D6A74323D0B}" type="pres">
      <dgm:prSet presAssocID="{CA93CD04-4CA6-4645-8164-779C74952296}" presName="srcNode" presStyleLbl="node1" presStyleIdx="0" presStyleCnt="4"/>
      <dgm:spPr/>
    </dgm:pt>
    <dgm:pt modelId="{98A6690B-7952-49B8-AC35-D1DC0643355D}" type="pres">
      <dgm:prSet presAssocID="{CA93CD04-4CA6-4645-8164-779C74952296}" presName="conn" presStyleLbl="parChTrans1D2" presStyleIdx="0" presStyleCnt="1"/>
      <dgm:spPr/>
    </dgm:pt>
    <dgm:pt modelId="{1AAE5DE0-CBEB-431E-BE0A-37DD784311AB}" type="pres">
      <dgm:prSet presAssocID="{CA93CD04-4CA6-4645-8164-779C74952296}" presName="extraNode" presStyleLbl="node1" presStyleIdx="0" presStyleCnt="4"/>
      <dgm:spPr/>
    </dgm:pt>
    <dgm:pt modelId="{B4661E12-5826-4518-8B3C-E9112318BF4B}" type="pres">
      <dgm:prSet presAssocID="{CA93CD04-4CA6-4645-8164-779C74952296}" presName="dstNode" presStyleLbl="node1" presStyleIdx="0" presStyleCnt="4"/>
      <dgm:spPr/>
    </dgm:pt>
    <dgm:pt modelId="{71A83284-5263-4A81-9B6C-C07A27D7B03B}" type="pres">
      <dgm:prSet presAssocID="{DCF22D7B-DD28-4B07-A4CE-EE61EB8EC788}" presName="text_1" presStyleLbl="node1" presStyleIdx="0" presStyleCnt="4">
        <dgm:presLayoutVars>
          <dgm:bulletEnabled val="1"/>
        </dgm:presLayoutVars>
      </dgm:prSet>
      <dgm:spPr/>
    </dgm:pt>
    <dgm:pt modelId="{54087455-7E28-4482-8093-717BF700BA7B}" type="pres">
      <dgm:prSet presAssocID="{DCF22D7B-DD28-4B07-A4CE-EE61EB8EC788}" presName="accent_1" presStyleCnt="0"/>
      <dgm:spPr/>
    </dgm:pt>
    <dgm:pt modelId="{491AFF3C-0DFA-474F-AF16-C65BBA1B8653}" type="pres">
      <dgm:prSet presAssocID="{DCF22D7B-DD28-4B07-A4CE-EE61EB8EC788}" presName="accentRepeatNode" presStyleLbl="solidFgAcc1" presStyleIdx="0" presStyleCnt="4"/>
      <dgm:spPr/>
    </dgm:pt>
    <dgm:pt modelId="{F670F624-204B-49B6-862E-C00F0E295246}" type="pres">
      <dgm:prSet presAssocID="{825E74A0-5CF2-4461-92B7-D74AD3D04DFD}" presName="text_2" presStyleLbl="node1" presStyleIdx="1" presStyleCnt="4">
        <dgm:presLayoutVars>
          <dgm:bulletEnabled val="1"/>
        </dgm:presLayoutVars>
      </dgm:prSet>
      <dgm:spPr/>
    </dgm:pt>
    <dgm:pt modelId="{B327056C-99E9-4254-92D3-D0B1EA556046}" type="pres">
      <dgm:prSet presAssocID="{825E74A0-5CF2-4461-92B7-D74AD3D04DFD}" presName="accent_2" presStyleCnt="0"/>
      <dgm:spPr/>
    </dgm:pt>
    <dgm:pt modelId="{5C6A690B-6FB0-4A2B-B467-BEEBE9C43B07}" type="pres">
      <dgm:prSet presAssocID="{825E74A0-5CF2-4461-92B7-D74AD3D04DFD}" presName="accentRepeatNode" presStyleLbl="solidFgAcc1" presStyleIdx="1" presStyleCnt="4"/>
      <dgm:spPr/>
    </dgm:pt>
    <dgm:pt modelId="{19D5F7D4-42B4-4221-812E-FD0F6D340883}" type="pres">
      <dgm:prSet presAssocID="{A6502213-F7C7-4078-9647-93C751552232}" presName="text_3" presStyleLbl="node1" presStyleIdx="2" presStyleCnt="4">
        <dgm:presLayoutVars>
          <dgm:bulletEnabled val="1"/>
        </dgm:presLayoutVars>
      </dgm:prSet>
      <dgm:spPr/>
    </dgm:pt>
    <dgm:pt modelId="{224219E4-2B8A-4D60-BF25-B1C8731A6F97}" type="pres">
      <dgm:prSet presAssocID="{A6502213-F7C7-4078-9647-93C751552232}" presName="accent_3" presStyleCnt="0"/>
      <dgm:spPr/>
    </dgm:pt>
    <dgm:pt modelId="{FA926E63-83AB-46E6-B459-E9FEEE7E037C}" type="pres">
      <dgm:prSet presAssocID="{A6502213-F7C7-4078-9647-93C751552232}" presName="accentRepeatNode" presStyleLbl="solidFgAcc1" presStyleIdx="2" presStyleCnt="4"/>
      <dgm:spPr/>
    </dgm:pt>
    <dgm:pt modelId="{A04BC8F5-FBB1-403E-B0CA-443799EC26AB}" type="pres">
      <dgm:prSet presAssocID="{3047D5C6-9B51-4659-B859-73A6501C2396}" presName="text_4" presStyleLbl="node1" presStyleIdx="3" presStyleCnt="4">
        <dgm:presLayoutVars>
          <dgm:bulletEnabled val="1"/>
        </dgm:presLayoutVars>
      </dgm:prSet>
      <dgm:spPr/>
    </dgm:pt>
    <dgm:pt modelId="{603C799F-D61A-4CE5-8293-C912F42CB372}" type="pres">
      <dgm:prSet presAssocID="{3047D5C6-9B51-4659-B859-73A6501C2396}" presName="accent_4" presStyleCnt="0"/>
      <dgm:spPr/>
    </dgm:pt>
    <dgm:pt modelId="{D7C0A989-1C53-4F52-ACEE-7FC2CFDF3813}" type="pres">
      <dgm:prSet presAssocID="{3047D5C6-9B51-4659-B859-73A6501C2396}" presName="accentRepeatNode" presStyleLbl="solidFgAcc1" presStyleIdx="3" presStyleCnt="4"/>
      <dgm:spPr/>
    </dgm:pt>
  </dgm:ptLst>
  <dgm:cxnLst>
    <dgm:cxn modelId="{B259F80B-6F86-47B5-B307-4AD44EB68897}" type="presOf" srcId="{DCF22D7B-DD28-4B07-A4CE-EE61EB8EC788}" destId="{71A83284-5263-4A81-9B6C-C07A27D7B03B}" srcOrd="0" destOrd="0" presId="urn:microsoft.com/office/officeart/2008/layout/VerticalCurvedList"/>
    <dgm:cxn modelId="{8E6B8E41-0F1A-4A62-8C77-8534248B8461}" srcId="{CA93CD04-4CA6-4645-8164-779C74952296}" destId="{3047D5C6-9B51-4659-B859-73A6501C2396}" srcOrd="3" destOrd="0" parTransId="{9397DFD5-1447-4D2E-9FCD-8A2DCCB30E46}" sibTransId="{DB06AD34-0C39-4D3E-8A3D-F78A641D31D2}"/>
    <dgm:cxn modelId="{DD6FE34B-69B7-45EC-A915-ED19E829293D}" srcId="{CA93CD04-4CA6-4645-8164-779C74952296}" destId="{A6502213-F7C7-4078-9647-93C751552232}" srcOrd="2" destOrd="0" parTransId="{014E2FB2-7898-4350-BBA4-627B969F00C8}" sibTransId="{91B7F998-5345-4CDF-B00E-2EB93B9C905F}"/>
    <dgm:cxn modelId="{16914E6A-B026-4DEE-99F0-8965FBEBCA46}" type="presOf" srcId="{CA93CD04-4CA6-4645-8164-779C74952296}" destId="{6622B4CA-E049-43D3-A7AD-8F47F800B22D}" srcOrd="0" destOrd="0" presId="urn:microsoft.com/office/officeart/2008/layout/VerticalCurvedList"/>
    <dgm:cxn modelId="{4ACA30B6-BC2C-4242-A158-6FA79B2D95E5}" type="presOf" srcId="{3047D5C6-9B51-4659-B859-73A6501C2396}" destId="{A04BC8F5-FBB1-403E-B0CA-443799EC26AB}" srcOrd="0" destOrd="0" presId="urn:microsoft.com/office/officeart/2008/layout/VerticalCurvedList"/>
    <dgm:cxn modelId="{C6DD67BB-2A86-47A0-B390-64D931602E4C}" type="presOf" srcId="{A6502213-F7C7-4078-9647-93C751552232}" destId="{19D5F7D4-42B4-4221-812E-FD0F6D340883}" srcOrd="0" destOrd="0" presId="urn:microsoft.com/office/officeart/2008/layout/VerticalCurvedList"/>
    <dgm:cxn modelId="{B387F2C3-3E2B-4FBA-8C69-08179E9B090A}" srcId="{CA93CD04-4CA6-4645-8164-779C74952296}" destId="{DCF22D7B-DD28-4B07-A4CE-EE61EB8EC788}" srcOrd="0" destOrd="0" parTransId="{E64E14B9-B261-4288-9792-AD674FBBE35A}" sibTransId="{29BA4502-5AAC-4CB9-BF10-CD6B05CFA05C}"/>
    <dgm:cxn modelId="{595728DF-A80E-4D37-AB8E-4EA651F6B027}" srcId="{CA93CD04-4CA6-4645-8164-779C74952296}" destId="{825E74A0-5CF2-4461-92B7-D74AD3D04DFD}" srcOrd="1" destOrd="0" parTransId="{81D2AAAC-4D6E-4714-8320-E372468BE109}" sibTransId="{66962D7C-5825-4D97-B008-A94369930419}"/>
    <dgm:cxn modelId="{9D26C8DF-FE24-4C16-A7B0-4662C68A151C}" type="presOf" srcId="{825E74A0-5CF2-4461-92B7-D74AD3D04DFD}" destId="{F670F624-204B-49B6-862E-C00F0E295246}" srcOrd="0" destOrd="0" presId="urn:microsoft.com/office/officeart/2008/layout/VerticalCurvedList"/>
    <dgm:cxn modelId="{EA84E3F5-70B3-4BF1-96AC-10CC5D84C26A}" type="presOf" srcId="{29BA4502-5AAC-4CB9-BF10-CD6B05CFA05C}" destId="{98A6690B-7952-49B8-AC35-D1DC0643355D}" srcOrd="0" destOrd="0" presId="urn:microsoft.com/office/officeart/2008/layout/VerticalCurvedList"/>
    <dgm:cxn modelId="{0C5B7D6A-C2DD-4E03-B7DD-26E11B4831F0}" type="presParOf" srcId="{6622B4CA-E049-43D3-A7AD-8F47F800B22D}" destId="{2BC7258F-0C5F-4FC3-A9A5-8CFF888A28CC}" srcOrd="0" destOrd="0" presId="urn:microsoft.com/office/officeart/2008/layout/VerticalCurvedList"/>
    <dgm:cxn modelId="{8830A165-1AE5-4772-9F9D-E3D930B20746}" type="presParOf" srcId="{2BC7258F-0C5F-4FC3-A9A5-8CFF888A28CC}" destId="{0F209EE8-4717-4D47-9472-D9B2F00E8053}" srcOrd="0" destOrd="0" presId="urn:microsoft.com/office/officeart/2008/layout/VerticalCurvedList"/>
    <dgm:cxn modelId="{93CDC91A-A47F-448F-A6ED-A68E35D8E73E}" type="presParOf" srcId="{0F209EE8-4717-4D47-9472-D9B2F00E8053}" destId="{FB703C1D-420B-4E4D-A0A8-2D6A74323D0B}" srcOrd="0" destOrd="0" presId="urn:microsoft.com/office/officeart/2008/layout/VerticalCurvedList"/>
    <dgm:cxn modelId="{1EC1B87A-307F-4D85-B226-B6A75BFB6F9F}" type="presParOf" srcId="{0F209EE8-4717-4D47-9472-D9B2F00E8053}" destId="{98A6690B-7952-49B8-AC35-D1DC0643355D}" srcOrd="1" destOrd="0" presId="urn:microsoft.com/office/officeart/2008/layout/VerticalCurvedList"/>
    <dgm:cxn modelId="{09B8203F-81FB-4AFE-BCF2-2C6630098D08}" type="presParOf" srcId="{0F209EE8-4717-4D47-9472-D9B2F00E8053}" destId="{1AAE5DE0-CBEB-431E-BE0A-37DD784311AB}" srcOrd="2" destOrd="0" presId="urn:microsoft.com/office/officeart/2008/layout/VerticalCurvedList"/>
    <dgm:cxn modelId="{DECB317A-83CF-479C-9571-E57CD2D5BDDB}" type="presParOf" srcId="{0F209EE8-4717-4D47-9472-D9B2F00E8053}" destId="{B4661E12-5826-4518-8B3C-E9112318BF4B}" srcOrd="3" destOrd="0" presId="urn:microsoft.com/office/officeart/2008/layout/VerticalCurvedList"/>
    <dgm:cxn modelId="{093E6046-1EEA-4C6A-BE89-815995EF7A1F}" type="presParOf" srcId="{2BC7258F-0C5F-4FC3-A9A5-8CFF888A28CC}" destId="{71A83284-5263-4A81-9B6C-C07A27D7B03B}" srcOrd="1" destOrd="0" presId="urn:microsoft.com/office/officeart/2008/layout/VerticalCurvedList"/>
    <dgm:cxn modelId="{BD3CC878-B42F-42EF-85BC-6848C63FF0D2}" type="presParOf" srcId="{2BC7258F-0C5F-4FC3-A9A5-8CFF888A28CC}" destId="{54087455-7E28-4482-8093-717BF700BA7B}" srcOrd="2" destOrd="0" presId="urn:microsoft.com/office/officeart/2008/layout/VerticalCurvedList"/>
    <dgm:cxn modelId="{4E0D8D58-E801-4DCF-A5E1-766980F51EFF}" type="presParOf" srcId="{54087455-7E28-4482-8093-717BF700BA7B}" destId="{491AFF3C-0DFA-474F-AF16-C65BBA1B8653}" srcOrd="0" destOrd="0" presId="urn:microsoft.com/office/officeart/2008/layout/VerticalCurvedList"/>
    <dgm:cxn modelId="{3456BEFC-C0AA-438C-A01A-21E2A319ECFE}" type="presParOf" srcId="{2BC7258F-0C5F-4FC3-A9A5-8CFF888A28CC}" destId="{F670F624-204B-49B6-862E-C00F0E295246}" srcOrd="3" destOrd="0" presId="urn:microsoft.com/office/officeart/2008/layout/VerticalCurvedList"/>
    <dgm:cxn modelId="{2E035183-DE9F-4D6D-B897-131180EF285C}" type="presParOf" srcId="{2BC7258F-0C5F-4FC3-A9A5-8CFF888A28CC}" destId="{B327056C-99E9-4254-92D3-D0B1EA556046}" srcOrd="4" destOrd="0" presId="urn:microsoft.com/office/officeart/2008/layout/VerticalCurvedList"/>
    <dgm:cxn modelId="{ECAAE29B-1B47-46D5-B26B-41F389C21794}" type="presParOf" srcId="{B327056C-99E9-4254-92D3-D0B1EA556046}" destId="{5C6A690B-6FB0-4A2B-B467-BEEBE9C43B07}" srcOrd="0" destOrd="0" presId="urn:microsoft.com/office/officeart/2008/layout/VerticalCurvedList"/>
    <dgm:cxn modelId="{5B4C4D05-9CD7-4EB9-86F4-B605F36870DD}" type="presParOf" srcId="{2BC7258F-0C5F-4FC3-A9A5-8CFF888A28CC}" destId="{19D5F7D4-42B4-4221-812E-FD0F6D340883}" srcOrd="5" destOrd="0" presId="urn:microsoft.com/office/officeart/2008/layout/VerticalCurvedList"/>
    <dgm:cxn modelId="{701D8C6C-02C2-43E2-BB5C-0970ECAEC019}" type="presParOf" srcId="{2BC7258F-0C5F-4FC3-A9A5-8CFF888A28CC}" destId="{224219E4-2B8A-4D60-BF25-B1C8731A6F97}" srcOrd="6" destOrd="0" presId="urn:microsoft.com/office/officeart/2008/layout/VerticalCurvedList"/>
    <dgm:cxn modelId="{DDF9273D-B288-46B3-A6AE-CCAD38CD1B5D}" type="presParOf" srcId="{224219E4-2B8A-4D60-BF25-B1C8731A6F97}" destId="{FA926E63-83AB-46E6-B459-E9FEEE7E037C}" srcOrd="0" destOrd="0" presId="urn:microsoft.com/office/officeart/2008/layout/VerticalCurvedList"/>
    <dgm:cxn modelId="{2DAC3345-C03F-4D41-BE50-04E3F6665F11}" type="presParOf" srcId="{2BC7258F-0C5F-4FC3-A9A5-8CFF888A28CC}" destId="{A04BC8F5-FBB1-403E-B0CA-443799EC26AB}" srcOrd="7" destOrd="0" presId="urn:microsoft.com/office/officeart/2008/layout/VerticalCurvedList"/>
    <dgm:cxn modelId="{1F6C0271-7FBF-463D-B30A-BC41AB600AB9}" type="presParOf" srcId="{2BC7258F-0C5F-4FC3-A9A5-8CFF888A28CC}" destId="{603C799F-D61A-4CE5-8293-C912F42CB372}" srcOrd="8" destOrd="0" presId="urn:microsoft.com/office/officeart/2008/layout/VerticalCurvedList"/>
    <dgm:cxn modelId="{F52F9574-F4E9-4201-BD77-BF6B1CBB3B82}" type="presParOf" srcId="{603C799F-D61A-4CE5-8293-C912F42CB372}" destId="{D7C0A989-1C53-4F52-ACEE-7FC2CFDF381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BAAAA29-E856-43EF-8542-A3AA606A3950}" type="doc">
      <dgm:prSet loTypeId="urn:microsoft.com/office/officeart/2011/layout/HexagonRadial" loCatId="officeonline" qsTypeId="urn:microsoft.com/office/officeart/2005/8/quickstyle/simple1" qsCatId="simple" csTypeId="urn:microsoft.com/office/officeart/2005/8/colors/colorful1" csCatId="colorful" phldr="1"/>
      <dgm:spPr/>
      <dgm:t>
        <a:bodyPr/>
        <a:lstStyle/>
        <a:p>
          <a:endParaRPr lang="en-US"/>
        </a:p>
      </dgm:t>
    </dgm:pt>
    <dgm:pt modelId="{8816E694-ECB1-437E-A2F4-3092859AEDC0}">
      <dgm:prSet phldrT="[Text]" custT="1"/>
      <dgm:spPr/>
      <dgm:t>
        <a:bodyPr/>
        <a:lstStyle/>
        <a:p>
          <a:r>
            <a:rPr lang="en-US" sz="2400" b="1" dirty="0">
              <a:latin typeface="Cambria" panose="02040503050406030204" pitchFamily="18" charset="0"/>
            </a:rPr>
            <a:t>One Stop Solution for</a:t>
          </a:r>
        </a:p>
      </dgm:t>
    </dgm:pt>
    <dgm:pt modelId="{516E0EA5-A21F-414C-B271-79497CB3FBB4}" type="parTrans" cxnId="{48B75FD5-3476-4712-AF64-0514617A7EB2}">
      <dgm:prSet/>
      <dgm:spPr/>
      <dgm:t>
        <a:bodyPr/>
        <a:lstStyle/>
        <a:p>
          <a:endParaRPr lang="en-US">
            <a:latin typeface="Cambria" panose="02040503050406030204" pitchFamily="18" charset="0"/>
          </a:endParaRPr>
        </a:p>
      </dgm:t>
    </dgm:pt>
    <dgm:pt modelId="{5D97360E-06DD-4B6A-BD88-8A172E5D2D62}" type="sibTrans" cxnId="{48B75FD5-3476-4712-AF64-0514617A7EB2}">
      <dgm:prSet/>
      <dgm:spPr/>
      <dgm:t>
        <a:bodyPr/>
        <a:lstStyle/>
        <a:p>
          <a:endParaRPr lang="en-US">
            <a:latin typeface="Cambria" panose="02040503050406030204" pitchFamily="18" charset="0"/>
          </a:endParaRPr>
        </a:p>
      </dgm:t>
    </dgm:pt>
    <dgm:pt modelId="{5DCC97DD-2448-4984-9711-1B8B5B331D7D}">
      <dgm:prSet phldrT="[Text]"/>
      <dgm:spPr/>
      <dgm:t>
        <a:bodyPr/>
        <a:lstStyle/>
        <a:p>
          <a:r>
            <a:rPr lang="en-US" dirty="0">
              <a:latin typeface="Cambria" panose="02040503050406030204" pitchFamily="18" charset="0"/>
            </a:rPr>
            <a:t>Front line workers</a:t>
          </a:r>
        </a:p>
      </dgm:t>
    </dgm:pt>
    <dgm:pt modelId="{40FA387D-FF51-48FC-96A9-F23E14FDA0A3}" type="parTrans" cxnId="{8AB790EA-E47F-4554-8954-73E8D49F7DBD}">
      <dgm:prSet/>
      <dgm:spPr/>
      <dgm:t>
        <a:bodyPr/>
        <a:lstStyle/>
        <a:p>
          <a:endParaRPr lang="en-US">
            <a:latin typeface="Cambria" panose="02040503050406030204" pitchFamily="18" charset="0"/>
          </a:endParaRPr>
        </a:p>
      </dgm:t>
    </dgm:pt>
    <dgm:pt modelId="{CD101374-2B2E-41E8-83DD-47920CE3CC60}" type="sibTrans" cxnId="{8AB790EA-E47F-4554-8954-73E8D49F7DBD}">
      <dgm:prSet/>
      <dgm:spPr/>
      <dgm:t>
        <a:bodyPr/>
        <a:lstStyle/>
        <a:p>
          <a:endParaRPr lang="en-US">
            <a:latin typeface="Cambria" panose="02040503050406030204" pitchFamily="18" charset="0"/>
          </a:endParaRPr>
        </a:p>
      </dgm:t>
    </dgm:pt>
    <dgm:pt modelId="{16A3A368-F28A-4DF3-A534-17168CFCBE20}">
      <dgm:prSet phldrT="[Text]"/>
      <dgm:spPr/>
      <dgm:t>
        <a:bodyPr/>
        <a:lstStyle/>
        <a:p>
          <a:r>
            <a:rPr lang="en-US" dirty="0">
              <a:latin typeface="Cambria" panose="02040503050406030204" pitchFamily="18" charset="0"/>
            </a:rPr>
            <a:t>Public &amp; Private Health Facilities</a:t>
          </a:r>
        </a:p>
      </dgm:t>
    </dgm:pt>
    <dgm:pt modelId="{7B123D22-9091-408E-8DF8-419E18889086}" type="parTrans" cxnId="{5D183596-0236-497D-933D-91454F07A336}">
      <dgm:prSet/>
      <dgm:spPr/>
      <dgm:t>
        <a:bodyPr/>
        <a:lstStyle/>
        <a:p>
          <a:endParaRPr lang="en-US">
            <a:latin typeface="Cambria" panose="02040503050406030204" pitchFamily="18" charset="0"/>
          </a:endParaRPr>
        </a:p>
      </dgm:t>
    </dgm:pt>
    <dgm:pt modelId="{C3A4F7A1-F464-4DB2-9400-4FBD197B1506}" type="sibTrans" cxnId="{5D183596-0236-497D-933D-91454F07A336}">
      <dgm:prSet/>
      <dgm:spPr/>
      <dgm:t>
        <a:bodyPr/>
        <a:lstStyle/>
        <a:p>
          <a:endParaRPr lang="en-US">
            <a:latin typeface="Cambria" panose="02040503050406030204" pitchFamily="18" charset="0"/>
          </a:endParaRPr>
        </a:p>
      </dgm:t>
    </dgm:pt>
    <dgm:pt modelId="{CEBB4783-7164-4A43-8251-4E9AECD7F3B0}">
      <dgm:prSet phldrT="[Text]"/>
      <dgm:spPr/>
      <dgm:t>
        <a:bodyPr/>
        <a:lstStyle/>
        <a:p>
          <a:r>
            <a:rPr lang="en-US" dirty="0">
              <a:latin typeface="Cambria" panose="02040503050406030204" pitchFamily="18" charset="0"/>
            </a:rPr>
            <a:t>Beneficiaries</a:t>
          </a:r>
        </a:p>
      </dgm:t>
    </dgm:pt>
    <dgm:pt modelId="{677151AB-6981-40BC-92C4-86EF8548132E}" type="parTrans" cxnId="{92EEFA55-450E-49A0-A6FF-FAB5173D7020}">
      <dgm:prSet/>
      <dgm:spPr/>
      <dgm:t>
        <a:bodyPr/>
        <a:lstStyle/>
        <a:p>
          <a:endParaRPr lang="en-US">
            <a:latin typeface="Cambria" panose="02040503050406030204" pitchFamily="18" charset="0"/>
          </a:endParaRPr>
        </a:p>
      </dgm:t>
    </dgm:pt>
    <dgm:pt modelId="{DC2E6A91-3D7F-41F0-939B-54CA826DD34A}" type="sibTrans" cxnId="{92EEFA55-450E-49A0-A6FF-FAB5173D7020}">
      <dgm:prSet/>
      <dgm:spPr/>
      <dgm:t>
        <a:bodyPr/>
        <a:lstStyle/>
        <a:p>
          <a:endParaRPr lang="en-US">
            <a:latin typeface="Cambria" panose="02040503050406030204" pitchFamily="18" charset="0"/>
          </a:endParaRPr>
        </a:p>
      </dgm:t>
    </dgm:pt>
    <dgm:pt modelId="{475474DA-1316-4CCD-B625-3A3036F80B6E}">
      <dgm:prSet phldrT="[Text]"/>
      <dgm:spPr/>
      <dgm:t>
        <a:bodyPr/>
        <a:lstStyle/>
        <a:p>
          <a:r>
            <a:rPr lang="en-US" dirty="0">
              <a:latin typeface="Cambria" panose="02040503050406030204" pitchFamily="18" charset="0"/>
            </a:rPr>
            <a:t>Citizens &amp; PRI members</a:t>
          </a:r>
        </a:p>
      </dgm:t>
    </dgm:pt>
    <dgm:pt modelId="{C8CF98F1-7451-42C2-9D60-C6E62F83F97B}" type="parTrans" cxnId="{F05B328B-7ACE-4C57-9A8C-BBDD575522AA}">
      <dgm:prSet/>
      <dgm:spPr/>
      <dgm:t>
        <a:bodyPr/>
        <a:lstStyle/>
        <a:p>
          <a:endParaRPr lang="en-US">
            <a:latin typeface="Cambria" panose="02040503050406030204" pitchFamily="18" charset="0"/>
          </a:endParaRPr>
        </a:p>
      </dgm:t>
    </dgm:pt>
    <dgm:pt modelId="{94B06A43-2F9D-4FE0-8F3D-CA36F87FF9C1}" type="sibTrans" cxnId="{F05B328B-7ACE-4C57-9A8C-BBDD575522AA}">
      <dgm:prSet/>
      <dgm:spPr/>
      <dgm:t>
        <a:bodyPr/>
        <a:lstStyle/>
        <a:p>
          <a:endParaRPr lang="en-US">
            <a:latin typeface="Cambria" panose="02040503050406030204" pitchFamily="18" charset="0"/>
          </a:endParaRPr>
        </a:p>
      </dgm:t>
    </dgm:pt>
    <dgm:pt modelId="{6203D829-12AF-4D55-AF5B-83DA6B65A290}">
      <dgm:prSet phldrT="[Text]"/>
      <dgm:spPr/>
      <dgm:t>
        <a:bodyPr/>
        <a:lstStyle/>
        <a:p>
          <a:r>
            <a:rPr lang="en-US" dirty="0">
              <a:latin typeface="Cambria" panose="02040503050406030204" pitchFamily="18" charset="0"/>
            </a:rPr>
            <a:t>Health managers</a:t>
          </a:r>
        </a:p>
      </dgm:t>
    </dgm:pt>
    <dgm:pt modelId="{F621735B-4B57-4BD6-9480-D6C3A826A9A4}" type="parTrans" cxnId="{4897AC65-236C-4B77-A317-ED6ECF6E6F36}">
      <dgm:prSet/>
      <dgm:spPr/>
      <dgm:t>
        <a:bodyPr/>
        <a:lstStyle/>
        <a:p>
          <a:endParaRPr lang="en-US">
            <a:latin typeface="Cambria" panose="02040503050406030204" pitchFamily="18" charset="0"/>
          </a:endParaRPr>
        </a:p>
      </dgm:t>
    </dgm:pt>
    <dgm:pt modelId="{8A78FD65-AE2B-4FD9-80BD-D85DBF93174B}" type="sibTrans" cxnId="{4897AC65-236C-4B77-A317-ED6ECF6E6F36}">
      <dgm:prSet/>
      <dgm:spPr/>
      <dgm:t>
        <a:bodyPr/>
        <a:lstStyle/>
        <a:p>
          <a:endParaRPr lang="en-US">
            <a:latin typeface="Cambria" panose="02040503050406030204" pitchFamily="18" charset="0"/>
          </a:endParaRPr>
        </a:p>
      </dgm:t>
    </dgm:pt>
    <dgm:pt modelId="{4E52C23D-36D0-4BA1-B6E8-1FE5499CEBED}">
      <dgm:prSet phldrT="[Text]"/>
      <dgm:spPr/>
      <dgm:t>
        <a:bodyPr/>
        <a:lstStyle/>
        <a:p>
          <a:r>
            <a:rPr lang="en-US" dirty="0">
              <a:latin typeface="Cambria" panose="02040503050406030204" pitchFamily="18" charset="0"/>
            </a:rPr>
            <a:t>CM Dashboard for review</a:t>
          </a:r>
        </a:p>
      </dgm:t>
    </dgm:pt>
    <dgm:pt modelId="{23DFBD6D-AA9A-4E76-87EB-29B60D29B886}" type="parTrans" cxnId="{1A5866A5-400A-4FAC-8E21-0852F3B034F2}">
      <dgm:prSet/>
      <dgm:spPr/>
      <dgm:t>
        <a:bodyPr/>
        <a:lstStyle/>
        <a:p>
          <a:endParaRPr lang="en-US">
            <a:latin typeface="Cambria" panose="02040503050406030204" pitchFamily="18" charset="0"/>
          </a:endParaRPr>
        </a:p>
      </dgm:t>
    </dgm:pt>
    <dgm:pt modelId="{43ABBAE5-7123-4CB6-8EF0-40889EF00D85}" type="sibTrans" cxnId="{1A5866A5-400A-4FAC-8E21-0852F3B034F2}">
      <dgm:prSet/>
      <dgm:spPr/>
      <dgm:t>
        <a:bodyPr/>
        <a:lstStyle/>
        <a:p>
          <a:endParaRPr lang="en-US">
            <a:latin typeface="Cambria" panose="02040503050406030204" pitchFamily="18" charset="0"/>
          </a:endParaRPr>
        </a:p>
      </dgm:t>
    </dgm:pt>
    <dgm:pt modelId="{A91BA0BB-B4EE-41B1-9212-64575E9EC43A}" type="pres">
      <dgm:prSet presAssocID="{CBAAAA29-E856-43EF-8542-A3AA606A3950}" presName="Name0" presStyleCnt="0">
        <dgm:presLayoutVars>
          <dgm:chMax val="1"/>
          <dgm:chPref val="1"/>
          <dgm:dir/>
          <dgm:animOne val="branch"/>
          <dgm:animLvl val="lvl"/>
        </dgm:presLayoutVars>
      </dgm:prSet>
      <dgm:spPr/>
    </dgm:pt>
    <dgm:pt modelId="{9EBB62F2-F871-48D7-9F54-B8CDA8F9B311}" type="pres">
      <dgm:prSet presAssocID="{8816E694-ECB1-437E-A2F4-3092859AEDC0}" presName="Parent" presStyleLbl="node0" presStyleIdx="0" presStyleCnt="1">
        <dgm:presLayoutVars>
          <dgm:chMax val="6"/>
          <dgm:chPref val="6"/>
        </dgm:presLayoutVars>
      </dgm:prSet>
      <dgm:spPr/>
    </dgm:pt>
    <dgm:pt modelId="{EF198EDC-030A-4B4E-8D13-C8239F29CD9E}" type="pres">
      <dgm:prSet presAssocID="{5DCC97DD-2448-4984-9711-1B8B5B331D7D}" presName="Accent1" presStyleCnt="0"/>
      <dgm:spPr/>
    </dgm:pt>
    <dgm:pt modelId="{3B932752-56AF-472F-BED8-6ED9AA89613C}" type="pres">
      <dgm:prSet presAssocID="{5DCC97DD-2448-4984-9711-1B8B5B331D7D}" presName="Accent" presStyleLbl="bgShp" presStyleIdx="0" presStyleCnt="6"/>
      <dgm:spPr/>
    </dgm:pt>
    <dgm:pt modelId="{ACBB7E2F-5F07-4650-B919-2617DEC795FD}" type="pres">
      <dgm:prSet presAssocID="{5DCC97DD-2448-4984-9711-1B8B5B331D7D}" presName="Child1" presStyleLbl="node1" presStyleIdx="0" presStyleCnt="6">
        <dgm:presLayoutVars>
          <dgm:chMax val="0"/>
          <dgm:chPref val="0"/>
          <dgm:bulletEnabled val="1"/>
        </dgm:presLayoutVars>
      </dgm:prSet>
      <dgm:spPr/>
    </dgm:pt>
    <dgm:pt modelId="{706C2015-2A19-4C62-AA12-EE306F2A0BD5}" type="pres">
      <dgm:prSet presAssocID="{16A3A368-F28A-4DF3-A534-17168CFCBE20}" presName="Accent2" presStyleCnt="0"/>
      <dgm:spPr/>
    </dgm:pt>
    <dgm:pt modelId="{BC858582-65BE-4D52-8F76-CF2B2B69D18F}" type="pres">
      <dgm:prSet presAssocID="{16A3A368-F28A-4DF3-A534-17168CFCBE20}" presName="Accent" presStyleLbl="bgShp" presStyleIdx="1" presStyleCnt="6"/>
      <dgm:spPr/>
    </dgm:pt>
    <dgm:pt modelId="{655B182B-DBFB-41E3-AAB2-02FF08096183}" type="pres">
      <dgm:prSet presAssocID="{16A3A368-F28A-4DF3-A534-17168CFCBE20}" presName="Child2" presStyleLbl="node1" presStyleIdx="1" presStyleCnt="6">
        <dgm:presLayoutVars>
          <dgm:chMax val="0"/>
          <dgm:chPref val="0"/>
          <dgm:bulletEnabled val="1"/>
        </dgm:presLayoutVars>
      </dgm:prSet>
      <dgm:spPr/>
    </dgm:pt>
    <dgm:pt modelId="{86D482CE-F1DE-4D1C-9DF2-F53B33F3660A}" type="pres">
      <dgm:prSet presAssocID="{CEBB4783-7164-4A43-8251-4E9AECD7F3B0}" presName="Accent3" presStyleCnt="0"/>
      <dgm:spPr/>
    </dgm:pt>
    <dgm:pt modelId="{EF478090-604E-451F-ABDD-CB361BC0015C}" type="pres">
      <dgm:prSet presAssocID="{CEBB4783-7164-4A43-8251-4E9AECD7F3B0}" presName="Accent" presStyleLbl="bgShp" presStyleIdx="2" presStyleCnt="6"/>
      <dgm:spPr/>
    </dgm:pt>
    <dgm:pt modelId="{F185AF53-5337-4911-8B5F-EBBC38520DBB}" type="pres">
      <dgm:prSet presAssocID="{CEBB4783-7164-4A43-8251-4E9AECD7F3B0}" presName="Child3" presStyleLbl="node1" presStyleIdx="2" presStyleCnt="6">
        <dgm:presLayoutVars>
          <dgm:chMax val="0"/>
          <dgm:chPref val="0"/>
          <dgm:bulletEnabled val="1"/>
        </dgm:presLayoutVars>
      </dgm:prSet>
      <dgm:spPr/>
    </dgm:pt>
    <dgm:pt modelId="{91E51163-74CB-4D8E-B019-63D83D0E06AC}" type="pres">
      <dgm:prSet presAssocID="{475474DA-1316-4CCD-B625-3A3036F80B6E}" presName="Accent4" presStyleCnt="0"/>
      <dgm:spPr/>
    </dgm:pt>
    <dgm:pt modelId="{B6DFED64-1BB9-4C65-AA06-4E964C2C2282}" type="pres">
      <dgm:prSet presAssocID="{475474DA-1316-4CCD-B625-3A3036F80B6E}" presName="Accent" presStyleLbl="bgShp" presStyleIdx="3" presStyleCnt="6"/>
      <dgm:spPr/>
    </dgm:pt>
    <dgm:pt modelId="{B941A671-5F8D-44FF-B1AE-0894B5C8C943}" type="pres">
      <dgm:prSet presAssocID="{475474DA-1316-4CCD-B625-3A3036F80B6E}" presName="Child4" presStyleLbl="node1" presStyleIdx="3" presStyleCnt="6">
        <dgm:presLayoutVars>
          <dgm:chMax val="0"/>
          <dgm:chPref val="0"/>
          <dgm:bulletEnabled val="1"/>
        </dgm:presLayoutVars>
      </dgm:prSet>
      <dgm:spPr/>
    </dgm:pt>
    <dgm:pt modelId="{4952B727-59B6-47E7-AE1B-046CF86D9901}" type="pres">
      <dgm:prSet presAssocID="{6203D829-12AF-4D55-AF5B-83DA6B65A290}" presName="Accent5" presStyleCnt="0"/>
      <dgm:spPr/>
    </dgm:pt>
    <dgm:pt modelId="{CF9674E2-2720-4A0E-A8DF-D74283F00763}" type="pres">
      <dgm:prSet presAssocID="{6203D829-12AF-4D55-AF5B-83DA6B65A290}" presName="Accent" presStyleLbl="bgShp" presStyleIdx="4" presStyleCnt="6"/>
      <dgm:spPr/>
    </dgm:pt>
    <dgm:pt modelId="{B2CDA0CE-EC16-4CA9-BD7D-52C4BF852B9D}" type="pres">
      <dgm:prSet presAssocID="{6203D829-12AF-4D55-AF5B-83DA6B65A290}" presName="Child5" presStyleLbl="node1" presStyleIdx="4" presStyleCnt="6">
        <dgm:presLayoutVars>
          <dgm:chMax val="0"/>
          <dgm:chPref val="0"/>
          <dgm:bulletEnabled val="1"/>
        </dgm:presLayoutVars>
      </dgm:prSet>
      <dgm:spPr/>
    </dgm:pt>
    <dgm:pt modelId="{BFAB036A-8C89-4318-BF87-4499C30880D9}" type="pres">
      <dgm:prSet presAssocID="{4E52C23D-36D0-4BA1-B6E8-1FE5499CEBED}" presName="Accent6" presStyleCnt="0"/>
      <dgm:spPr/>
    </dgm:pt>
    <dgm:pt modelId="{5D6166CC-2D2F-42E1-B93E-F697001B74D6}" type="pres">
      <dgm:prSet presAssocID="{4E52C23D-36D0-4BA1-B6E8-1FE5499CEBED}" presName="Accent" presStyleLbl="bgShp" presStyleIdx="5" presStyleCnt="6"/>
      <dgm:spPr/>
    </dgm:pt>
    <dgm:pt modelId="{F8E3663C-D748-4106-8298-D404EE9FD912}" type="pres">
      <dgm:prSet presAssocID="{4E52C23D-36D0-4BA1-B6E8-1FE5499CEBED}" presName="Child6" presStyleLbl="node1" presStyleIdx="5" presStyleCnt="6">
        <dgm:presLayoutVars>
          <dgm:chMax val="0"/>
          <dgm:chPref val="0"/>
          <dgm:bulletEnabled val="1"/>
        </dgm:presLayoutVars>
      </dgm:prSet>
      <dgm:spPr/>
    </dgm:pt>
  </dgm:ptLst>
  <dgm:cxnLst>
    <dgm:cxn modelId="{7CF26D51-8068-4E6A-A6C7-DB361F5CD21E}" type="presOf" srcId="{16A3A368-F28A-4DF3-A534-17168CFCBE20}" destId="{655B182B-DBFB-41E3-AAB2-02FF08096183}" srcOrd="0" destOrd="0" presId="urn:microsoft.com/office/officeart/2011/layout/HexagonRadial"/>
    <dgm:cxn modelId="{92EEFA55-450E-49A0-A6FF-FAB5173D7020}" srcId="{8816E694-ECB1-437E-A2F4-3092859AEDC0}" destId="{CEBB4783-7164-4A43-8251-4E9AECD7F3B0}" srcOrd="2" destOrd="0" parTransId="{677151AB-6981-40BC-92C4-86EF8548132E}" sibTransId="{DC2E6A91-3D7F-41F0-939B-54CA826DD34A}"/>
    <dgm:cxn modelId="{4897AC65-236C-4B77-A317-ED6ECF6E6F36}" srcId="{8816E694-ECB1-437E-A2F4-3092859AEDC0}" destId="{6203D829-12AF-4D55-AF5B-83DA6B65A290}" srcOrd="4" destOrd="0" parTransId="{F621735B-4B57-4BD6-9480-D6C3A826A9A4}" sibTransId="{8A78FD65-AE2B-4FD9-80BD-D85DBF93174B}"/>
    <dgm:cxn modelId="{F05B328B-7ACE-4C57-9A8C-BBDD575522AA}" srcId="{8816E694-ECB1-437E-A2F4-3092859AEDC0}" destId="{475474DA-1316-4CCD-B625-3A3036F80B6E}" srcOrd="3" destOrd="0" parTransId="{C8CF98F1-7451-42C2-9D60-C6E62F83F97B}" sibTransId="{94B06A43-2F9D-4FE0-8F3D-CA36F87FF9C1}"/>
    <dgm:cxn modelId="{5D183596-0236-497D-933D-91454F07A336}" srcId="{8816E694-ECB1-437E-A2F4-3092859AEDC0}" destId="{16A3A368-F28A-4DF3-A534-17168CFCBE20}" srcOrd="1" destOrd="0" parTransId="{7B123D22-9091-408E-8DF8-419E18889086}" sibTransId="{C3A4F7A1-F464-4DB2-9400-4FBD197B1506}"/>
    <dgm:cxn modelId="{1A5866A5-400A-4FAC-8E21-0852F3B034F2}" srcId="{8816E694-ECB1-437E-A2F4-3092859AEDC0}" destId="{4E52C23D-36D0-4BA1-B6E8-1FE5499CEBED}" srcOrd="5" destOrd="0" parTransId="{23DFBD6D-AA9A-4E76-87EB-29B60D29B886}" sibTransId="{43ABBAE5-7123-4CB6-8EF0-40889EF00D85}"/>
    <dgm:cxn modelId="{6C3B72A8-2888-47AF-9EC3-3A51734B9113}" type="presOf" srcId="{8816E694-ECB1-437E-A2F4-3092859AEDC0}" destId="{9EBB62F2-F871-48D7-9F54-B8CDA8F9B311}" srcOrd="0" destOrd="0" presId="urn:microsoft.com/office/officeart/2011/layout/HexagonRadial"/>
    <dgm:cxn modelId="{1EB217C4-790C-47DA-A23C-DDBF487F5916}" type="presOf" srcId="{4E52C23D-36D0-4BA1-B6E8-1FE5499CEBED}" destId="{F8E3663C-D748-4106-8298-D404EE9FD912}" srcOrd="0" destOrd="0" presId="urn:microsoft.com/office/officeart/2011/layout/HexagonRadial"/>
    <dgm:cxn modelId="{9BF230C9-27D6-407A-8F16-C1041614770D}" type="presOf" srcId="{5DCC97DD-2448-4984-9711-1B8B5B331D7D}" destId="{ACBB7E2F-5F07-4650-B919-2617DEC795FD}" srcOrd="0" destOrd="0" presId="urn:microsoft.com/office/officeart/2011/layout/HexagonRadial"/>
    <dgm:cxn modelId="{B47CCBCC-1805-405A-8918-140181394386}" type="presOf" srcId="{6203D829-12AF-4D55-AF5B-83DA6B65A290}" destId="{B2CDA0CE-EC16-4CA9-BD7D-52C4BF852B9D}" srcOrd="0" destOrd="0" presId="urn:microsoft.com/office/officeart/2011/layout/HexagonRadial"/>
    <dgm:cxn modelId="{48B75FD5-3476-4712-AF64-0514617A7EB2}" srcId="{CBAAAA29-E856-43EF-8542-A3AA606A3950}" destId="{8816E694-ECB1-437E-A2F4-3092859AEDC0}" srcOrd="0" destOrd="0" parTransId="{516E0EA5-A21F-414C-B271-79497CB3FBB4}" sibTransId="{5D97360E-06DD-4B6A-BD88-8A172E5D2D62}"/>
    <dgm:cxn modelId="{2F89AAE4-7120-4FBD-B7E0-FAAFC2A172CF}" type="presOf" srcId="{CBAAAA29-E856-43EF-8542-A3AA606A3950}" destId="{A91BA0BB-B4EE-41B1-9212-64575E9EC43A}" srcOrd="0" destOrd="0" presId="urn:microsoft.com/office/officeart/2011/layout/HexagonRadial"/>
    <dgm:cxn modelId="{8AB790EA-E47F-4554-8954-73E8D49F7DBD}" srcId="{8816E694-ECB1-437E-A2F4-3092859AEDC0}" destId="{5DCC97DD-2448-4984-9711-1B8B5B331D7D}" srcOrd="0" destOrd="0" parTransId="{40FA387D-FF51-48FC-96A9-F23E14FDA0A3}" sibTransId="{CD101374-2B2E-41E8-83DD-47920CE3CC60}"/>
    <dgm:cxn modelId="{476FCDF2-DEEE-43EF-8FEB-79069379681E}" type="presOf" srcId="{475474DA-1316-4CCD-B625-3A3036F80B6E}" destId="{B941A671-5F8D-44FF-B1AE-0894B5C8C943}" srcOrd="0" destOrd="0" presId="urn:microsoft.com/office/officeart/2011/layout/HexagonRadial"/>
    <dgm:cxn modelId="{39EA6CFD-BDCE-46FA-97E3-12E02410D998}" type="presOf" srcId="{CEBB4783-7164-4A43-8251-4E9AECD7F3B0}" destId="{F185AF53-5337-4911-8B5F-EBBC38520DBB}" srcOrd="0" destOrd="0" presId="urn:microsoft.com/office/officeart/2011/layout/HexagonRadial"/>
    <dgm:cxn modelId="{940EB603-E611-4874-A9CD-0B28E3A2A24B}" type="presParOf" srcId="{A91BA0BB-B4EE-41B1-9212-64575E9EC43A}" destId="{9EBB62F2-F871-48D7-9F54-B8CDA8F9B311}" srcOrd="0" destOrd="0" presId="urn:microsoft.com/office/officeart/2011/layout/HexagonRadial"/>
    <dgm:cxn modelId="{F6B2B574-A6E5-4EC3-94E6-AF04BBFFBD9F}" type="presParOf" srcId="{A91BA0BB-B4EE-41B1-9212-64575E9EC43A}" destId="{EF198EDC-030A-4B4E-8D13-C8239F29CD9E}" srcOrd="1" destOrd="0" presId="urn:microsoft.com/office/officeart/2011/layout/HexagonRadial"/>
    <dgm:cxn modelId="{6257B3BE-88B6-4199-968A-0EFD42C7A455}" type="presParOf" srcId="{EF198EDC-030A-4B4E-8D13-C8239F29CD9E}" destId="{3B932752-56AF-472F-BED8-6ED9AA89613C}" srcOrd="0" destOrd="0" presId="urn:microsoft.com/office/officeart/2011/layout/HexagonRadial"/>
    <dgm:cxn modelId="{011F93B6-D32E-4F62-9DFC-13ACE734BBD2}" type="presParOf" srcId="{A91BA0BB-B4EE-41B1-9212-64575E9EC43A}" destId="{ACBB7E2F-5F07-4650-B919-2617DEC795FD}" srcOrd="2" destOrd="0" presId="urn:microsoft.com/office/officeart/2011/layout/HexagonRadial"/>
    <dgm:cxn modelId="{F893E6EB-2380-4AC1-887C-0734E591EA01}" type="presParOf" srcId="{A91BA0BB-B4EE-41B1-9212-64575E9EC43A}" destId="{706C2015-2A19-4C62-AA12-EE306F2A0BD5}" srcOrd="3" destOrd="0" presId="urn:microsoft.com/office/officeart/2011/layout/HexagonRadial"/>
    <dgm:cxn modelId="{730FD234-8904-4C08-AAC0-5731C76C881C}" type="presParOf" srcId="{706C2015-2A19-4C62-AA12-EE306F2A0BD5}" destId="{BC858582-65BE-4D52-8F76-CF2B2B69D18F}" srcOrd="0" destOrd="0" presId="urn:microsoft.com/office/officeart/2011/layout/HexagonRadial"/>
    <dgm:cxn modelId="{06C6612D-323F-43B8-A19D-40A3D77AA6BB}" type="presParOf" srcId="{A91BA0BB-B4EE-41B1-9212-64575E9EC43A}" destId="{655B182B-DBFB-41E3-AAB2-02FF08096183}" srcOrd="4" destOrd="0" presId="urn:microsoft.com/office/officeart/2011/layout/HexagonRadial"/>
    <dgm:cxn modelId="{4ABEB122-B355-434E-A30D-8F0EF9EC4F7B}" type="presParOf" srcId="{A91BA0BB-B4EE-41B1-9212-64575E9EC43A}" destId="{86D482CE-F1DE-4D1C-9DF2-F53B33F3660A}" srcOrd="5" destOrd="0" presId="urn:microsoft.com/office/officeart/2011/layout/HexagonRadial"/>
    <dgm:cxn modelId="{B8A5E77E-F1C5-45F1-AB28-7C1D7076BA49}" type="presParOf" srcId="{86D482CE-F1DE-4D1C-9DF2-F53B33F3660A}" destId="{EF478090-604E-451F-ABDD-CB361BC0015C}" srcOrd="0" destOrd="0" presId="urn:microsoft.com/office/officeart/2011/layout/HexagonRadial"/>
    <dgm:cxn modelId="{9AA9B193-1A25-4D4F-9E87-78E46E8E403E}" type="presParOf" srcId="{A91BA0BB-B4EE-41B1-9212-64575E9EC43A}" destId="{F185AF53-5337-4911-8B5F-EBBC38520DBB}" srcOrd="6" destOrd="0" presId="urn:microsoft.com/office/officeart/2011/layout/HexagonRadial"/>
    <dgm:cxn modelId="{ACADEDD5-F8F5-472A-B167-C5FDDAB56DCE}" type="presParOf" srcId="{A91BA0BB-B4EE-41B1-9212-64575E9EC43A}" destId="{91E51163-74CB-4D8E-B019-63D83D0E06AC}" srcOrd="7" destOrd="0" presId="urn:microsoft.com/office/officeart/2011/layout/HexagonRadial"/>
    <dgm:cxn modelId="{8A4484F9-9978-4574-9BAD-D72B03215785}" type="presParOf" srcId="{91E51163-74CB-4D8E-B019-63D83D0E06AC}" destId="{B6DFED64-1BB9-4C65-AA06-4E964C2C2282}" srcOrd="0" destOrd="0" presId="urn:microsoft.com/office/officeart/2011/layout/HexagonRadial"/>
    <dgm:cxn modelId="{31D158F1-97DF-46AC-92CB-91A877CB01F9}" type="presParOf" srcId="{A91BA0BB-B4EE-41B1-9212-64575E9EC43A}" destId="{B941A671-5F8D-44FF-B1AE-0894B5C8C943}" srcOrd="8" destOrd="0" presId="urn:microsoft.com/office/officeart/2011/layout/HexagonRadial"/>
    <dgm:cxn modelId="{25C76D92-3015-470C-9DA6-8D7D004C31A9}" type="presParOf" srcId="{A91BA0BB-B4EE-41B1-9212-64575E9EC43A}" destId="{4952B727-59B6-47E7-AE1B-046CF86D9901}" srcOrd="9" destOrd="0" presId="urn:microsoft.com/office/officeart/2011/layout/HexagonRadial"/>
    <dgm:cxn modelId="{4387F924-7B14-4854-B929-AF33D67E0464}" type="presParOf" srcId="{4952B727-59B6-47E7-AE1B-046CF86D9901}" destId="{CF9674E2-2720-4A0E-A8DF-D74283F00763}" srcOrd="0" destOrd="0" presId="urn:microsoft.com/office/officeart/2011/layout/HexagonRadial"/>
    <dgm:cxn modelId="{548E076D-5B7E-4CBA-B2C1-143EBA7DFA18}" type="presParOf" srcId="{A91BA0BB-B4EE-41B1-9212-64575E9EC43A}" destId="{B2CDA0CE-EC16-4CA9-BD7D-52C4BF852B9D}" srcOrd="10" destOrd="0" presId="urn:microsoft.com/office/officeart/2011/layout/HexagonRadial"/>
    <dgm:cxn modelId="{BAC63686-2804-42B9-BC3F-A24C94D7121A}" type="presParOf" srcId="{A91BA0BB-B4EE-41B1-9212-64575E9EC43A}" destId="{BFAB036A-8C89-4318-BF87-4499C30880D9}" srcOrd="11" destOrd="0" presId="urn:microsoft.com/office/officeart/2011/layout/HexagonRadial"/>
    <dgm:cxn modelId="{E0555A17-15A9-4A46-9576-857D7B6AEFC3}" type="presParOf" srcId="{BFAB036A-8C89-4318-BF87-4499C30880D9}" destId="{5D6166CC-2D2F-42E1-B93E-F697001B74D6}" srcOrd="0" destOrd="0" presId="urn:microsoft.com/office/officeart/2011/layout/HexagonRadial"/>
    <dgm:cxn modelId="{D4D6A6AE-D695-4393-A986-8F675F4F0D2C}" type="presParOf" srcId="{A91BA0BB-B4EE-41B1-9212-64575E9EC43A}" destId="{F8E3663C-D748-4106-8298-D404EE9FD912}"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15C022-7D0A-D046-AF69-F186CAD200CE}"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33554A83-37BC-F745-85FE-E8185FCBA2EB}">
      <dgm:prSet phldrT="[Text]"/>
      <dgm:spPr/>
      <dgm:t>
        <a:bodyPr/>
        <a:lstStyle/>
        <a:p>
          <a:r>
            <a:rPr lang="en-US" dirty="0"/>
            <a:t>Reduce IMR/ MMR</a:t>
          </a:r>
        </a:p>
      </dgm:t>
    </dgm:pt>
    <dgm:pt modelId="{8E3EB5E5-BC6C-2F48-8804-6B437E5664F4}" type="parTrans" cxnId="{CB009627-5CA2-3049-9507-63BAF6C21008}">
      <dgm:prSet/>
      <dgm:spPr/>
      <dgm:t>
        <a:bodyPr/>
        <a:lstStyle/>
        <a:p>
          <a:endParaRPr lang="en-US"/>
        </a:p>
      </dgm:t>
    </dgm:pt>
    <dgm:pt modelId="{FD534834-27B5-A440-BDC1-0C6042B08D70}" type="sibTrans" cxnId="{CB009627-5CA2-3049-9507-63BAF6C21008}">
      <dgm:prSet/>
      <dgm:spPr/>
      <dgm:t>
        <a:bodyPr/>
        <a:lstStyle/>
        <a:p>
          <a:endParaRPr lang="en-US"/>
        </a:p>
      </dgm:t>
    </dgm:pt>
    <dgm:pt modelId="{D9C954C2-C5D4-8B45-A919-393A4C740B70}">
      <dgm:prSet phldrT="[Text]"/>
      <dgm:spPr/>
      <dgm:t>
        <a:bodyPr/>
        <a:lstStyle/>
        <a:p>
          <a:r>
            <a:rPr lang="en-US" dirty="0"/>
            <a:t>Sex Ratio</a:t>
          </a:r>
        </a:p>
      </dgm:t>
    </dgm:pt>
    <dgm:pt modelId="{F2A2C45E-64ED-D242-8DC1-C707125F90E1}" type="parTrans" cxnId="{0428E533-03E9-5E4D-8310-8FE348602911}">
      <dgm:prSet/>
      <dgm:spPr/>
      <dgm:t>
        <a:bodyPr/>
        <a:lstStyle/>
        <a:p>
          <a:endParaRPr lang="en-US"/>
        </a:p>
      </dgm:t>
    </dgm:pt>
    <dgm:pt modelId="{E5503C5F-98E6-144B-A477-18B79CB80B22}" type="sibTrans" cxnId="{0428E533-03E9-5E4D-8310-8FE348602911}">
      <dgm:prSet/>
      <dgm:spPr/>
      <dgm:t>
        <a:bodyPr/>
        <a:lstStyle/>
        <a:p>
          <a:endParaRPr lang="en-US"/>
        </a:p>
      </dgm:t>
    </dgm:pt>
    <dgm:pt modelId="{A76CBC09-21C2-7743-867B-737D300A2B6A}">
      <dgm:prSet phldrT="[Text]"/>
      <dgm:spPr/>
      <dgm:t>
        <a:bodyPr/>
        <a:lstStyle/>
        <a:p>
          <a:r>
            <a:rPr lang="en-US" dirty="0"/>
            <a:t>100% Immunization</a:t>
          </a:r>
        </a:p>
      </dgm:t>
    </dgm:pt>
    <dgm:pt modelId="{B8804679-AB27-924E-AC73-65E3E5D38E2D}" type="parTrans" cxnId="{300EC8B6-790E-3548-AF59-5DD6DCDCE92E}">
      <dgm:prSet/>
      <dgm:spPr/>
      <dgm:t>
        <a:bodyPr/>
        <a:lstStyle/>
        <a:p>
          <a:endParaRPr lang="en-US"/>
        </a:p>
      </dgm:t>
    </dgm:pt>
    <dgm:pt modelId="{BF724E4E-6508-F24F-B843-330D1AFE59E8}" type="sibTrans" cxnId="{300EC8B6-790E-3548-AF59-5DD6DCDCE92E}">
      <dgm:prSet/>
      <dgm:spPr/>
      <dgm:t>
        <a:bodyPr/>
        <a:lstStyle/>
        <a:p>
          <a:endParaRPr lang="en-US"/>
        </a:p>
      </dgm:t>
    </dgm:pt>
    <dgm:pt modelId="{DE427159-1C7C-0147-8A4C-C803DAC93FF9}">
      <dgm:prSet phldrT="[Text]"/>
      <dgm:spPr/>
      <dgm:t>
        <a:bodyPr/>
        <a:lstStyle/>
        <a:p>
          <a:r>
            <a:rPr lang="en-US" dirty="0"/>
            <a:t>Reduce Malnutrition</a:t>
          </a:r>
        </a:p>
      </dgm:t>
    </dgm:pt>
    <dgm:pt modelId="{95E3D14D-B037-A44F-9AAD-2714DEC2DBB6}" type="parTrans" cxnId="{8D5873B1-21AF-ED46-A135-EBB97789E16B}">
      <dgm:prSet/>
      <dgm:spPr/>
      <dgm:t>
        <a:bodyPr/>
        <a:lstStyle/>
        <a:p>
          <a:endParaRPr lang="en-US"/>
        </a:p>
      </dgm:t>
    </dgm:pt>
    <dgm:pt modelId="{89CB3076-AD44-7F4C-BC77-82E23FFAED24}" type="sibTrans" cxnId="{8D5873B1-21AF-ED46-A135-EBB97789E16B}">
      <dgm:prSet/>
      <dgm:spPr/>
      <dgm:t>
        <a:bodyPr/>
        <a:lstStyle/>
        <a:p>
          <a:endParaRPr lang="en-US"/>
        </a:p>
      </dgm:t>
    </dgm:pt>
    <dgm:pt modelId="{C93A5E20-5114-834D-A93F-E1604E891CC8}" type="pres">
      <dgm:prSet presAssocID="{9315C022-7D0A-D046-AF69-F186CAD200CE}" presName="linear" presStyleCnt="0">
        <dgm:presLayoutVars>
          <dgm:dir/>
          <dgm:animLvl val="lvl"/>
          <dgm:resizeHandles val="exact"/>
        </dgm:presLayoutVars>
      </dgm:prSet>
      <dgm:spPr/>
    </dgm:pt>
    <dgm:pt modelId="{3396DF8B-044E-AD49-A49D-21AEDD4D907F}" type="pres">
      <dgm:prSet presAssocID="{33554A83-37BC-F745-85FE-E8185FCBA2EB}" presName="parentLin" presStyleCnt="0"/>
      <dgm:spPr/>
    </dgm:pt>
    <dgm:pt modelId="{FA7F511E-D141-5F4D-A0AD-711D6F441714}" type="pres">
      <dgm:prSet presAssocID="{33554A83-37BC-F745-85FE-E8185FCBA2EB}" presName="parentLeftMargin" presStyleLbl="node1" presStyleIdx="0" presStyleCnt="4"/>
      <dgm:spPr/>
    </dgm:pt>
    <dgm:pt modelId="{55B99B2A-30F8-8848-BC46-4C6AEDB2373C}" type="pres">
      <dgm:prSet presAssocID="{33554A83-37BC-F745-85FE-E8185FCBA2EB}" presName="parentText" presStyleLbl="node1" presStyleIdx="0" presStyleCnt="4">
        <dgm:presLayoutVars>
          <dgm:chMax val="0"/>
          <dgm:bulletEnabled val="1"/>
        </dgm:presLayoutVars>
      </dgm:prSet>
      <dgm:spPr/>
    </dgm:pt>
    <dgm:pt modelId="{24C3ADC4-5620-C04B-8C4F-959F9D99C962}" type="pres">
      <dgm:prSet presAssocID="{33554A83-37BC-F745-85FE-E8185FCBA2EB}" presName="negativeSpace" presStyleCnt="0"/>
      <dgm:spPr/>
    </dgm:pt>
    <dgm:pt modelId="{ADE0D00C-194D-BC4C-BC64-2B22466BA624}" type="pres">
      <dgm:prSet presAssocID="{33554A83-37BC-F745-85FE-E8185FCBA2EB}" presName="childText" presStyleLbl="conFgAcc1" presStyleIdx="0" presStyleCnt="4">
        <dgm:presLayoutVars>
          <dgm:bulletEnabled val="1"/>
        </dgm:presLayoutVars>
      </dgm:prSet>
      <dgm:spPr/>
    </dgm:pt>
    <dgm:pt modelId="{71AFBDEF-E944-7246-BF37-7F76E58416DB}" type="pres">
      <dgm:prSet presAssocID="{FD534834-27B5-A440-BDC1-0C6042B08D70}" presName="spaceBetweenRectangles" presStyleCnt="0"/>
      <dgm:spPr/>
    </dgm:pt>
    <dgm:pt modelId="{F9F6E6AB-0864-864A-AC5B-B245A904B4BE}" type="pres">
      <dgm:prSet presAssocID="{A76CBC09-21C2-7743-867B-737D300A2B6A}" presName="parentLin" presStyleCnt="0"/>
      <dgm:spPr/>
    </dgm:pt>
    <dgm:pt modelId="{185B528C-80C0-9746-A7FC-38DF5655E3DC}" type="pres">
      <dgm:prSet presAssocID="{A76CBC09-21C2-7743-867B-737D300A2B6A}" presName="parentLeftMargin" presStyleLbl="node1" presStyleIdx="0" presStyleCnt="4"/>
      <dgm:spPr/>
    </dgm:pt>
    <dgm:pt modelId="{1EE83884-64D0-6541-93A9-BE5E50AB1557}" type="pres">
      <dgm:prSet presAssocID="{A76CBC09-21C2-7743-867B-737D300A2B6A}" presName="parentText" presStyleLbl="node1" presStyleIdx="1" presStyleCnt="4">
        <dgm:presLayoutVars>
          <dgm:chMax val="0"/>
          <dgm:bulletEnabled val="1"/>
        </dgm:presLayoutVars>
      </dgm:prSet>
      <dgm:spPr/>
    </dgm:pt>
    <dgm:pt modelId="{44D9F46D-0FFB-9948-B3AE-6F94656470D4}" type="pres">
      <dgm:prSet presAssocID="{A76CBC09-21C2-7743-867B-737D300A2B6A}" presName="negativeSpace" presStyleCnt="0"/>
      <dgm:spPr/>
    </dgm:pt>
    <dgm:pt modelId="{182051DC-BD1A-6A4F-B007-F6DABEBE1B6D}" type="pres">
      <dgm:prSet presAssocID="{A76CBC09-21C2-7743-867B-737D300A2B6A}" presName="childText" presStyleLbl="conFgAcc1" presStyleIdx="1" presStyleCnt="4">
        <dgm:presLayoutVars>
          <dgm:bulletEnabled val="1"/>
        </dgm:presLayoutVars>
      </dgm:prSet>
      <dgm:spPr/>
    </dgm:pt>
    <dgm:pt modelId="{3E7447F8-9680-7247-8A18-7DD263CB04FF}" type="pres">
      <dgm:prSet presAssocID="{BF724E4E-6508-F24F-B843-330D1AFE59E8}" presName="spaceBetweenRectangles" presStyleCnt="0"/>
      <dgm:spPr/>
    </dgm:pt>
    <dgm:pt modelId="{A7028693-287C-5A4F-B92F-9E3BBB9DA9B1}" type="pres">
      <dgm:prSet presAssocID="{DE427159-1C7C-0147-8A4C-C803DAC93FF9}" presName="parentLin" presStyleCnt="0"/>
      <dgm:spPr/>
    </dgm:pt>
    <dgm:pt modelId="{BD775904-96F4-2445-A7F8-680BEBE1B709}" type="pres">
      <dgm:prSet presAssocID="{DE427159-1C7C-0147-8A4C-C803DAC93FF9}" presName="parentLeftMargin" presStyleLbl="node1" presStyleIdx="1" presStyleCnt="4"/>
      <dgm:spPr/>
    </dgm:pt>
    <dgm:pt modelId="{A4544683-F496-F44E-8661-6B64AA2B453A}" type="pres">
      <dgm:prSet presAssocID="{DE427159-1C7C-0147-8A4C-C803DAC93FF9}" presName="parentText" presStyleLbl="node1" presStyleIdx="2" presStyleCnt="4">
        <dgm:presLayoutVars>
          <dgm:chMax val="0"/>
          <dgm:bulletEnabled val="1"/>
        </dgm:presLayoutVars>
      </dgm:prSet>
      <dgm:spPr/>
    </dgm:pt>
    <dgm:pt modelId="{B6B48BBD-18C9-9445-B4EF-37A233DA2921}" type="pres">
      <dgm:prSet presAssocID="{DE427159-1C7C-0147-8A4C-C803DAC93FF9}" presName="negativeSpace" presStyleCnt="0"/>
      <dgm:spPr/>
    </dgm:pt>
    <dgm:pt modelId="{7ACDB1DB-414C-A64D-BE12-CB518BA65CD1}" type="pres">
      <dgm:prSet presAssocID="{DE427159-1C7C-0147-8A4C-C803DAC93FF9}" presName="childText" presStyleLbl="conFgAcc1" presStyleIdx="2" presStyleCnt="4">
        <dgm:presLayoutVars>
          <dgm:bulletEnabled val="1"/>
        </dgm:presLayoutVars>
      </dgm:prSet>
      <dgm:spPr/>
    </dgm:pt>
    <dgm:pt modelId="{565FB9E8-2CCD-144B-BF93-5C0CC55B143D}" type="pres">
      <dgm:prSet presAssocID="{89CB3076-AD44-7F4C-BC77-82E23FFAED24}" presName="spaceBetweenRectangles" presStyleCnt="0"/>
      <dgm:spPr/>
    </dgm:pt>
    <dgm:pt modelId="{EA8E4473-B0DE-1446-938A-6B097DBB67FB}" type="pres">
      <dgm:prSet presAssocID="{D9C954C2-C5D4-8B45-A919-393A4C740B70}" presName="parentLin" presStyleCnt="0"/>
      <dgm:spPr/>
    </dgm:pt>
    <dgm:pt modelId="{DE42000C-0F8A-6F45-864A-AF725C5F3F8F}" type="pres">
      <dgm:prSet presAssocID="{D9C954C2-C5D4-8B45-A919-393A4C740B70}" presName="parentLeftMargin" presStyleLbl="node1" presStyleIdx="2" presStyleCnt="4"/>
      <dgm:spPr/>
    </dgm:pt>
    <dgm:pt modelId="{ECB56C67-37AF-834B-93D8-38013B0209C3}" type="pres">
      <dgm:prSet presAssocID="{D9C954C2-C5D4-8B45-A919-393A4C740B70}" presName="parentText" presStyleLbl="node1" presStyleIdx="3" presStyleCnt="4">
        <dgm:presLayoutVars>
          <dgm:chMax val="0"/>
          <dgm:bulletEnabled val="1"/>
        </dgm:presLayoutVars>
      </dgm:prSet>
      <dgm:spPr/>
    </dgm:pt>
    <dgm:pt modelId="{EA9AF973-C67B-7D45-8DA3-5C559C512663}" type="pres">
      <dgm:prSet presAssocID="{D9C954C2-C5D4-8B45-A919-393A4C740B70}" presName="negativeSpace" presStyleCnt="0"/>
      <dgm:spPr/>
    </dgm:pt>
    <dgm:pt modelId="{C9E214D3-7CE1-F24A-B61B-927F06C46311}" type="pres">
      <dgm:prSet presAssocID="{D9C954C2-C5D4-8B45-A919-393A4C740B70}" presName="childText" presStyleLbl="conFgAcc1" presStyleIdx="3" presStyleCnt="4">
        <dgm:presLayoutVars>
          <dgm:bulletEnabled val="1"/>
        </dgm:presLayoutVars>
      </dgm:prSet>
      <dgm:spPr/>
    </dgm:pt>
  </dgm:ptLst>
  <dgm:cxnLst>
    <dgm:cxn modelId="{6760D11A-E544-A740-9DE8-D327A5E508CB}" type="presOf" srcId="{A76CBC09-21C2-7743-867B-737D300A2B6A}" destId="{1EE83884-64D0-6541-93A9-BE5E50AB1557}" srcOrd="1" destOrd="0" presId="urn:microsoft.com/office/officeart/2005/8/layout/list1"/>
    <dgm:cxn modelId="{CB009627-5CA2-3049-9507-63BAF6C21008}" srcId="{9315C022-7D0A-D046-AF69-F186CAD200CE}" destId="{33554A83-37BC-F745-85FE-E8185FCBA2EB}" srcOrd="0" destOrd="0" parTransId="{8E3EB5E5-BC6C-2F48-8804-6B437E5664F4}" sibTransId="{FD534834-27B5-A440-BDC1-0C6042B08D70}"/>
    <dgm:cxn modelId="{3EB1722C-4287-8147-9C86-C4B613032F59}" type="presOf" srcId="{DE427159-1C7C-0147-8A4C-C803DAC93FF9}" destId="{BD775904-96F4-2445-A7F8-680BEBE1B709}" srcOrd="0" destOrd="0" presId="urn:microsoft.com/office/officeart/2005/8/layout/list1"/>
    <dgm:cxn modelId="{0428E533-03E9-5E4D-8310-8FE348602911}" srcId="{9315C022-7D0A-D046-AF69-F186CAD200CE}" destId="{D9C954C2-C5D4-8B45-A919-393A4C740B70}" srcOrd="3" destOrd="0" parTransId="{F2A2C45E-64ED-D242-8DC1-C707125F90E1}" sibTransId="{E5503C5F-98E6-144B-A477-18B79CB80B22}"/>
    <dgm:cxn modelId="{E09F0339-2A1E-5644-BDC1-09B4DA16C5CB}" type="presOf" srcId="{D9C954C2-C5D4-8B45-A919-393A4C740B70}" destId="{ECB56C67-37AF-834B-93D8-38013B0209C3}" srcOrd="1" destOrd="0" presId="urn:microsoft.com/office/officeart/2005/8/layout/list1"/>
    <dgm:cxn modelId="{B56E7567-EDFF-4843-9DF2-9963D49A071F}" type="presOf" srcId="{D9C954C2-C5D4-8B45-A919-393A4C740B70}" destId="{DE42000C-0F8A-6F45-864A-AF725C5F3F8F}" srcOrd="0" destOrd="0" presId="urn:microsoft.com/office/officeart/2005/8/layout/list1"/>
    <dgm:cxn modelId="{49627581-5C11-3C4F-9A89-805A5D2E4FE7}" type="presOf" srcId="{33554A83-37BC-F745-85FE-E8185FCBA2EB}" destId="{55B99B2A-30F8-8848-BC46-4C6AEDB2373C}" srcOrd="1" destOrd="0" presId="urn:microsoft.com/office/officeart/2005/8/layout/list1"/>
    <dgm:cxn modelId="{8530228E-2775-7043-9D52-CB126AF9E424}" type="presOf" srcId="{DE427159-1C7C-0147-8A4C-C803DAC93FF9}" destId="{A4544683-F496-F44E-8661-6B64AA2B453A}" srcOrd="1" destOrd="0" presId="urn:microsoft.com/office/officeart/2005/8/layout/list1"/>
    <dgm:cxn modelId="{7E4E749F-77C1-0C4E-A68C-F2076694087F}" type="presOf" srcId="{A76CBC09-21C2-7743-867B-737D300A2B6A}" destId="{185B528C-80C0-9746-A7FC-38DF5655E3DC}" srcOrd="0" destOrd="0" presId="urn:microsoft.com/office/officeart/2005/8/layout/list1"/>
    <dgm:cxn modelId="{C2935CA0-8F62-9E45-9B59-5E3B41DD6C84}" type="presOf" srcId="{33554A83-37BC-F745-85FE-E8185FCBA2EB}" destId="{FA7F511E-D141-5F4D-A0AD-711D6F441714}" srcOrd="0" destOrd="0" presId="urn:microsoft.com/office/officeart/2005/8/layout/list1"/>
    <dgm:cxn modelId="{8D5873B1-21AF-ED46-A135-EBB97789E16B}" srcId="{9315C022-7D0A-D046-AF69-F186CAD200CE}" destId="{DE427159-1C7C-0147-8A4C-C803DAC93FF9}" srcOrd="2" destOrd="0" parTransId="{95E3D14D-B037-A44F-9AAD-2714DEC2DBB6}" sibTransId="{89CB3076-AD44-7F4C-BC77-82E23FFAED24}"/>
    <dgm:cxn modelId="{300EC8B6-790E-3548-AF59-5DD6DCDCE92E}" srcId="{9315C022-7D0A-D046-AF69-F186CAD200CE}" destId="{A76CBC09-21C2-7743-867B-737D300A2B6A}" srcOrd="1" destOrd="0" parTransId="{B8804679-AB27-924E-AC73-65E3E5D38E2D}" sibTransId="{BF724E4E-6508-F24F-B843-330D1AFE59E8}"/>
    <dgm:cxn modelId="{C8968ACA-BC3C-594F-B3B8-06AF33278F94}" type="presOf" srcId="{9315C022-7D0A-D046-AF69-F186CAD200CE}" destId="{C93A5E20-5114-834D-A93F-E1604E891CC8}" srcOrd="0" destOrd="0" presId="urn:microsoft.com/office/officeart/2005/8/layout/list1"/>
    <dgm:cxn modelId="{094C336D-1E1F-2A45-95E3-045CA36C7943}" type="presParOf" srcId="{C93A5E20-5114-834D-A93F-E1604E891CC8}" destId="{3396DF8B-044E-AD49-A49D-21AEDD4D907F}" srcOrd="0" destOrd="0" presId="urn:microsoft.com/office/officeart/2005/8/layout/list1"/>
    <dgm:cxn modelId="{E6753A5E-8055-3F42-96C8-EF27D370A7EB}" type="presParOf" srcId="{3396DF8B-044E-AD49-A49D-21AEDD4D907F}" destId="{FA7F511E-D141-5F4D-A0AD-711D6F441714}" srcOrd="0" destOrd="0" presId="urn:microsoft.com/office/officeart/2005/8/layout/list1"/>
    <dgm:cxn modelId="{0B7491B9-B57F-104A-A0C7-22C8469FFFCB}" type="presParOf" srcId="{3396DF8B-044E-AD49-A49D-21AEDD4D907F}" destId="{55B99B2A-30F8-8848-BC46-4C6AEDB2373C}" srcOrd="1" destOrd="0" presId="urn:microsoft.com/office/officeart/2005/8/layout/list1"/>
    <dgm:cxn modelId="{FF19F930-6B14-1649-837B-F7DBC65A2698}" type="presParOf" srcId="{C93A5E20-5114-834D-A93F-E1604E891CC8}" destId="{24C3ADC4-5620-C04B-8C4F-959F9D99C962}" srcOrd="1" destOrd="0" presId="urn:microsoft.com/office/officeart/2005/8/layout/list1"/>
    <dgm:cxn modelId="{A1CA89AB-AC23-EC47-8BAB-7117FD6F64D2}" type="presParOf" srcId="{C93A5E20-5114-834D-A93F-E1604E891CC8}" destId="{ADE0D00C-194D-BC4C-BC64-2B22466BA624}" srcOrd="2" destOrd="0" presId="urn:microsoft.com/office/officeart/2005/8/layout/list1"/>
    <dgm:cxn modelId="{D1E266F0-F023-154E-93C8-3CF1347C0047}" type="presParOf" srcId="{C93A5E20-5114-834D-A93F-E1604E891CC8}" destId="{71AFBDEF-E944-7246-BF37-7F76E58416DB}" srcOrd="3" destOrd="0" presId="urn:microsoft.com/office/officeart/2005/8/layout/list1"/>
    <dgm:cxn modelId="{6B05134D-1165-D24B-B125-E0E14548B7FA}" type="presParOf" srcId="{C93A5E20-5114-834D-A93F-E1604E891CC8}" destId="{F9F6E6AB-0864-864A-AC5B-B245A904B4BE}" srcOrd="4" destOrd="0" presId="urn:microsoft.com/office/officeart/2005/8/layout/list1"/>
    <dgm:cxn modelId="{35D5C9E6-E449-CD41-A6C6-2F93CEBCEEA5}" type="presParOf" srcId="{F9F6E6AB-0864-864A-AC5B-B245A904B4BE}" destId="{185B528C-80C0-9746-A7FC-38DF5655E3DC}" srcOrd="0" destOrd="0" presId="urn:microsoft.com/office/officeart/2005/8/layout/list1"/>
    <dgm:cxn modelId="{AD2E4CDD-4522-EB49-ACA9-7050A270F143}" type="presParOf" srcId="{F9F6E6AB-0864-864A-AC5B-B245A904B4BE}" destId="{1EE83884-64D0-6541-93A9-BE5E50AB1557}" srcOrd="1" destOrd="0" presId="urn:microsoft.com/office/officeart/2005/8/layout/list1"/>
    <dgm:cxn modelId="{96BF61CE-A8E8-AA49-A690-0A83EA8ABE18}" type="presParOf" srcId="{C93A5E20-5114-834D-A93F-E1604E891CC8}" destId="{44D9F46D-0FFB-9948-B3AE-6F94656470D4}" srcOrd="5" destOrd="0" presId="urn:microsoft.com/office/officeart/2005/8/layout/list1"/>
    <dgm:cxn modelId="{81034915-FBC2-954F-A3EE-905BF4CF53E1}" type="presParOf" srcId="{C93A5E20-5114-834D-A93F-E1604E891CC8}" destId="{182051DC-BD1A-6A4F-B007-F6DABEBE1B6D}" srcOrd="6" destOrd="0" presId="urn:microsoft.com/office/officeart/2005/8/layout/list1"/>
    <dgm:cxn modelId="{3708372A-B56C-AE42-A0A4-363C209FA5CA}" type="presParOf" srcId="{C93A5E20-5114-834D-A93F-E1604E891CC8}" destId="{3E7447F8-9680-7247-8A18-7DD263CB04FF}" srcOrd="7" destOrd="0" presId="urn:microsoft.com/office/officeart/2005/8/layout/list1"/>
    <dgm:cxn modelId="{33A5C4B7-6CF9-F941-800F-2EE3468C9DA4}" type="presParOf" srcId="{C93A5E20-5114-834D-A93F-E1604E891CC8}" destId="{A7028693-287C-5A4F-B92F-9E3BBB9DA9B1}" srcOrd="8" destOrd="0" presId="urn:microsoft.com/office/officeart/2005/8/layout/list1"/>
    <dgm:cxn modelId="{AD3AEAC4-022B-4948-8FF9-CE1A38A7B8DD}" type="presParOf" srcId="{A7028693-287C-5A4F-B92F-9E3BBB9DA9B1}" destId="{BD775904-96F4-2445-A7F8-680BEBE1B709}" srcOrd="0" destOrd="0" presId="urn:microsoft.com/office/officeart/2005/8/layout/list1"/>
    <dgm:cxn modelId="{901E8B37-BCB4-6D4A-8795-180305A2DC66}" type="presParOf" srcId="{A7028693-287C-5A4F-B92F-9E3BBB9DA9B1}" destId="{A4544683-F496-F44E-8661-6B64AA2B453A}" srcOrd="1" destOrd="0" presId="urn:microsoft.com/office/officeart/2005/8/layout/list1"/>
    <dgm:cxn modelId="{69AB63B0-DCF4-4442-B055-15190402AE90}" type="presParOf" srcId="{C93A5E20-5114-834D-A93F-E1604E891CC8}" destId="{B6B48BBD-18C9-9445-B4EF-37A233DA2921}" srcOrd="9" destOrd="0" presId="urn:microsoft.com/office/officeart/2005/8/layout/list1"/>
    <dgm:cxn modelId="{8134387B-DDA9-654E-8235-A3826A61BCA7}" type="presParOf" srcId="{C93A5E20-5114-834D-A93F-E1604E891CC8}" destId="{7ACDB1DB-414C-A64D-BE12-CB518BA65CD1}" srcOrd="10" destOrd="0" presId="urn:microsoft.com/office/officeart/2005/8/layout/list1"/>
    <dgm:cxn modelId="{B355055A-0BD1-D240-89FD-6AB162760F43}" type="presParOf" srcId="{C93A5E20-5114-834D-A93F-E1604E891CC8}" destId="{565FB9E8-2CCD-144B-BF93-5C0CC55B143D}" srcOrd="11" destOrd="0" presId="urn:microsoft.com/office/officeart/2005/8/layout/list1"/>
    <dgm:cxn modelId="{1D203DA5-53B5-F846-AA3E-8A0359EA28DA}" type="presParOf" srcId="{C93A5E20-5114-834D-A93F-E1604E891CC8}" destId="{EA8E4473-B0DE-1446-938A-6B097DBB67FB}" srcOrd="12" destOrd="0" presId="urn:microsoft.com/office/officeart/2005/8/layout/list1"/>
    <dgm:cxn modelId="{6F42D4C3-A516-DF43-A9DC-2151288980A6}" type="presParOf" srcId="{EA8E4473-B0DE-1446-938A-6B097DBB67FB}" destId="{DE42000C-0F8A-6F45-864A-AF725C5F3F8F}" srcOrd="0" destOrd="0" presId="urn:microsoft.com/office/officeart/2005/8/layout/list1"/>
    <dgm:cxn modelId="{B1EE7619-09BC-C941-B827-FB5B20125A2A}" type="presParOf" srcId="{EA8E4473-B0DE-1446-938A-6B097DBB67FB}" destId="{ECB56C67-37AF-834B-93D8-38013B0209C3}" srcOrd="1" destOrd="0" presId="urn:microsoft.com/office/officeart/2005/8/layout/list1"/>
    <dgm:cxn modelId="{FEB5D1DF-210C-064B-89D7-59E4A2CED37F}" type="presParOf" srcId="{C93A5E20-5114-834D-A93F-E1604E891CC8}" destId="{EA9AF973-C67B-7D45-8DA3-5C559C512663}" srcOrd="13" destOrd="0" presId="urn:microsoft.com/office/officeart/2005/8/layout/list1"/>
    <dgm:cxn modelId="{1729DB91-31CD-7046-BAE6-350F77D09D87}" type="presParOf" srcId="{C93A5E20-5114-834D-A93F-E1604E891CC8}" destId="{C9E214D3-7CE1-F24A-B61B-927F06C46311}" srcOrd="14"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0F45163-9F81-D64D-97CB-5DF6133C312D}" type="doc">
      <dgm:prSet loTypeId="urn:microsoft.com/office/officeart/2008/layout/CircularPictureCallout" loCatId="" qsTypeId="urn:microsoft.com/office/officeart/2005/8/quickstyle/simple1" qsCatId="simple" csTypeId="urn:microsoft.com/office/officeart/2005/8/colors/accent1_2" csCatId="accent1" phldr="1"/>
      <dgm:spPr/>
      <dgm:t>
        <a:bodyPr/>
        <a:lstStyle/>
        <a:p>
          <a:endParaRPr lang="en-US"/>
        </a:p>
      </dgm:t>
    </dgm:pt>
    <dgm:pt modelId="{CDBBD531-2380-A546-A30D-A4416C5C9671}">
      <dgm:prSet/>
      <dgm:spPr/>
      <dgm:t>
        <a:bodyPr/>
        <a:lstStyle/>
        <a:p>
          <a:r>
            <a:rPr lang="en-US" dirty="0">
              <a:solidFill>
                <a:srgbClr val="FF0000"/>
              </a:solidFill>
            </a:rPr>
            <a:t>Data on Health indicators</a:t>
          </a:r>
        </a:p>
      </dgm:t>
    </dgm:pt>
    <dgm:pt modelId="{C5E3E1E8-D34A-B340-BD2E-3ED929CA7E4A}" type="parTrans" cxnId="{5FC33B85-25B1-A340-8822-BE41EFB22780}">
      <dgm:prSet/>
      <dgm:spPr/>
      <dgm:t>
        <a:bodyPr/>
        <a:lstStyle/>
        <a:p>
          <a:endParaRPr lang="en-US"/>
        </a:p>
      </dgm:t>
    </dgm:pt>
    <dgm:pt modelId="{600EC344-CE56-9348-AD10-E7A9FF043500}" type="sibTrans" cxnId="{5FC33B85-25B1-A340-8822-BE41EFB22780}">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A5456A71-E5AD-764C-879A-4501122D357E}">
      <dgm:prSet phldrT="[Text]"/>
      <dgm:spPr/>
      <dgm:t>
        <a:bodyPr/>
        <a:lstStyle/>
        <a:p>
          <a:r>
            <a:rPr lang="en-US" dirty="0"/>
            <a:t>Census</a:t>
          </a:r>
        </a:p>
      </dgm:t>
    </dgm:pt>
    <dgm:pt modelId="{6CF8AE6C-4140-BB4C-9380-42B15BBC4187}" type="parTrans" cxnId="{EE47A336-72D8-FB4F-8A0C-A28BA0B9ACFC}">
      <dgm:prSet/>
      <dgm:spPr/>
      <dgm:t>
        <a:bodyPr/>
        <a:lstStyle/>
        <a:p>
          <a:endParaRPr lang="en-US"/>
        </a:p>
      </dgm:t>
    </dgm:pt>
    <dgm:pt modelId="{969BC2B6-D119-5C47-AF7C-7B5AE50641BE}" type="sibTrans" cxnId="{EE47A336-72D8-FB4F-8A0C-A28BA0B9ACFC}">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t>
        <a:bodyPr/>
        <a:lstStyle/>
        <a:p>
          <a:endParaRPr lang="en-US"/>
        </a:p>
      </dgm:t>
    </dgm:pt>
    <dgm:pt modelId="{36C8E1E1-3C8D-B543-9493-4BFBA37964E3}">
      <dgm:prSet phldrT="[Text]"/>
      <dgm:spPr/>
      <dgm:t>
        <a:bodyPr/>
        <a:lstStyle/>
        <a:p>
          <a:r>
            <a:rPr lang="en-US" dirty="0"/>
            <a:t>NFHS</a:t>
          </a:r>
        </a:p>
      </dgm:t>
    </dgm:pt>
    <dgm:pt modelId="{447CB3DB-A4A7-0E45-AB23-9CA40D6E8B75}" type="parTrans" cxnId="{77237B13-0EDB-2748-9CDB-B7DE34BB5748}">
      <dgm:prSet/>
      <dgm:spPr/>
      <dgm:t>
        <a:bodyPr/>
        <a:lstStyle/>
        <a:p>
          <a:endParaRPr lang="en-US"/>
        </a:p>
      </dgm:t>
    </dgm:pt>
    <dgm:pt modelId="{DEC88190-44A3-6946-9AFA-CD5C3BDAC7E2}" type="sibTrans" cxnId="{77237B13-0EDB-2748-9CDB-B7DE34BB5748}">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33000" r="-33000"/>
          </a:stretch>
        </a:blipFill>
      </dgm:spPr>
      <dgm:t>
        <a:bodyPr/>
        <a:lstStyle/>
        <a:p>
          <a:endParaRPr lang="en-US"/>
        </a:p>
      </dgm:t>
    </dgm:pt>
    <dgm:pt modelId="{B77B5F0C-3EE3-5042-8A55-257E20A20B9C}">
      <dgm:prSet phldrT="[Text]"/>
      <dgm:spPr/>
      <dgm:t>
        <a:bodyPr/>
        <a:lstStyle/>
        <a:p>
          <a:r>
            <a:rPr lang="en-US" dirty="0"/>
            <a:t>SRS</a:t>
          </a:r>
        </a:p>
      </dgm:t>
    </dgm:pt>
    <dgm:pt modelId="{BD0FC44E-1A1C-4749-80A8-3BD42AD2761A}" type="parTrans" cxnId="{8A16CD33-8E1B-BC4C-B5C1-F10677AE00BD}">
      <dgm:prSet/>
      <dgm:spPr/>
      <dgm:t>
        <a:bodyPr/>
        <a:lstStyle/>
        <a:p>
          <a:endParaRPr lang="en-US"/>
        </a:p>
      </dgm:t>
    </dgm:pt>
    <dgm:pt modelId="{4359C5D8-1080-6743-A24F-FB4CBB794F1E}" type="sibTrans" cxnId="{8A16CD33-8E1B-BC4C-B5C1-F10677AE00BD}">
      <dgm:prSet/>
      <dgm:spPr>
        <a:blipFill>
          <a:blip xmlns:r="http://schemas.openxmlformats.org/officeDocument/2006/relationships" r:embed="rId4">
            <a:extLst>
              <a:ext uri="{28A0092B-C50C-407E-A947-70E740481C1C}">
                <a14:useLocalDpi xmlns:a14="http://schemas.microsoft.com/office/drawing/2010/main" val="0"/>
              </a:ext>
            </a:extLst>
          </a:blip>
          <a:srcRect/>
          <a:stretch>
            <a:fillRect l="-17000" r="-17000"/>
          </a:stretch>
        </a:blipFill>
      </dgm:spPr>
      <dgm:t>
        <a:bodyPr/>
        <a:lstStyle/>
        <a:p>
          <a:endParaRPr lang="en-US"/>
        </a:p>
      </dgm:t>
    </dgm:pt>
    <dgm:pt modelId="{9EC36FFE-4508-7640-97CE-37823FA581DC}" type="pres">
      <dgm:prSet presAssocID="{60F45163-9F81-D64D-97CB-5DF6133C312D}" presName="Name0" presStyleCnt="0">
        <dgm:presLayoutVars>
          <dgm:chMax val="7"/>
          <dgm:chPref val="7"/>
          <dgm:dir/>
        </dgm:presLayoutVars>
      </dgm:prSet>
      <dgm:spPr/>
    </dgm:pt>
    <dgm:pt modelId="{8F8D61EF-AFFC-6E47-9A37-F6287EFD35D2}" type="pres">
      <dgm:prSet presAssocID="{60F45163-9F81-D64D-97CB-5DF6133C312D}" presName="Name1" presStyleCnt="0"/>
      <dgm:spPr/>
    </dgm:pt>
    <dgm:pt modelId="{B5E84D07-5BB3-F74F-A1DF-670130B1D9FF}" type="pres">
      <dgm:prSet presAssocID="{600EC344-CE56-9348-AD10-E7A9FF043500}" presName="picture_1" presStyleCnt="0"/>
      <dgm:spPr/>
    </dgm:pt>
    <dgm:pt modelId="{70602443-3C2F-A442-8C61-611ED1863248}" type="pres">
      <dgm:prSet presAssocID="{600EC344-CE56-9348-AD10-E7A9FF043500}" presName="pictureRepeatNode" presStyleLbl="alignImgPlace1" presStyleIdx="0" presStyleCnt="4" custLinFactNeighborY="689"/>
      <dgm:spPr/>
    </dgm:pt>
    <dgm:pt modelId="{6D725E52-5520-134A-A4C9-335CD72EA5B4}" type="pres">
      <dgm:prSet presAssocID="{CDBBD531-2380-A546-A30D-A4416C5C9671}" presName="text_1" presStyleLbl="node1" presStyleIdx="0" presStyleCnt="0" custScaleX="68352" custScaleY="142345" custLinFactNeighborX="43600" custLinFactNeighborY="-78295">
        <dgm:presLayoutVars>
          <dgm:bulletEnabled val="1"/>
        </dgm:presLayoutVars>
      </dgm:prSet>
      <dgm:spPr/>
    </dgm:pt>
    <dgm:pt modelId="{85062E8A-482D-734E-8B29-081383FA846E}" type="pres">
      <dgm:prSet presAssocID="{969BC2B6-D119-5C47-AF7C-7B5AE50641BE}" presName="picture_2" presStyleCnt="0"/>
      <dgm:spPr/>
    </dgm:pt>
    <dgm:pt modelId="{50A7B4B2-9ADD-3B4F-B9DE-67F3734A8F7A}" type="pres">
      <dgm:prSet presAssocID="{969BC2B6-D119-5C47-AF7C-7B5AE50641BE}" presName="pictureRepeatNode" presStyleLbl="alignImgPlace1" presStyleIdx="1" presStyleCnt="4"/>
      <dgm:spPr/>
    </dgm:pt>
    <dgm:pt modelId="{AEA3F65C-6732-8144-B13F-FD5ED408D96C}" type="pres">
      <dgm:prSet presAssocID="{A5456A71-E5AD-764C-879A-4501122D357E}" presName="line_2" presStyleLbl="parChTrans1D1" presStyleIdx="0" presStyleCnt="3"/>
      <dgm:spPr/>
    </dgm:pt>
    <dgm:pt modelId="{E505A461-9B2E-E24E-9FE5-89D1F2B13EBE}" type="pres">
      <dgm:prSet presAssocID="{A5456A71-E5AD-764C-879A-4501122D357E}" presName="textparent_2" presStyleLbl="node1" presStyleIdx="0" presStyleCnt="0"/>
      <dgm:spPr/>
    </dgm:pt>
    <dgm:pt modelId="{515BFA8B-DCBA-C141-8988-9F979C942723}" type="pres">
      <dgm:prSet presAssocID="{A5456A71-E5AD-764C-879A-4501122D357E}" presName="text_2" presStyleLbl="revTx" presStyleIdx="0" presStyleCnt="3">
        <dgm:presLayoutVars>
          <dgm:bulletEnabled val="1"/>
        </dgm:presLayoutVars>
      </dgm:prSet>
      <dgm:spPr/>
    </dgm:pt>
    <dgm:pt modelId="{A87F7636-C36B-CB4B-8731-B7A26103AEAA}" type="pres">
      <dgm:prSet presAssocID="{DEC88190-44A3-6946-9AFA-CD5C3BDAC7E2}" presName="picture_3" presStyleCnt="0"/>
      <dgm:spPr/>
    </dgm:pt>
    <dgm:pt modelId="{9A609329-8BEC-0946-9B30-B44EF865DC65}" type="pres">
      <dgm:prSet presAssocID="{DEC88190-44A3-6946-9AFA-CD5C3BDAC7E2}" presName="pictureRepeatNode" presStyleLbl="alignImgPlace1" presStyleIdx="2" presStyleCnt="4"/>
      <dgm:spPr/>
    </dgm:pt>
    <dgm:pt modelId="{7965183E-8FB4-8542-8954-E5E0214E40DA}" type="pres">
      <dgm:prSet presAssocID="{36C8E1E1-3C8D-B543-9493-4BFBA37964E3}" presName="line_3" presStyleLbl="parChTrans1D1" presStyleIdx="1" presStyleCnt="3"/>
      <dgm:spPr/>
    </dgm:pt>
    <dgm:pt modelId="{2EA03F1B-F110-F44B-AA36-2689D87F0CC6}" type="pres">
      <dgm:prSet presAssocID="{36C8E1E1-3C8D-B543-9493-4BFBA37964E3}" presName="textparent_3" presStyleLbl="node1" presStyleIdx="0" presStyleCnt="0"/>
      <dgm:spPr/>
    </dgm:pt>
    <dgm:pt modelId="{BD97C5A2-E5D2-584C-BCC2-566B4314D777}" type="pres">
      <dgm:prSet presAssocID="{36C8E1E1-3C8D-B543-9493-4BFBA37964E3}" presName="text_3" presStyleLbl="revTx" presStyleIdx="1" presStyleCnt="3">
        <dgm:presLayoutVars>
          <dgm:bulletEnabled val="1"/>
        </dgm:presLayoutVars>
      </dgm:prSet>
      <dgm:spPr/>
    </dgm:pt>
    <dgm:pt modelId="{5ACB96A2-8469-DC4F-ADC8-B76F0F6A2C1F}" type="pres">
      <dgm:prSet presAssocID="{4359C5D8-1080-6743-A24F-FB4CBB794F1E}" presName="picture_4" presStyleCnt="0"/>
      <dgm:spPr/>
    </dgm:pt>
    <dgm:pt modelId="{AEA31E78-2A98-014E-8CB5-C9CE4ED7920E}" type="pres">
      <dgm:prSet presAssocID="{4359C5D8-1080-6743-A24F-FB4CBB794F1E}" presName="pictureRepeatNode" presStyleLbl="alignImgPlace1" presStyleIdx="3" presStyleCnt="4" custLinFactNeighborY="2594"/>
      <dgm:spPr/>
    </dgm:pt>
    <dgm:pt modelId="{8EFB36C4-66E5-8148-8755-785AEDDF615F}" type="pres">
      <dgm:prSet presAssocID="{B77B5F0C-3EE3-5042-8A55-257E20A20B9C}" presName="line_4" presStyleLbl="parChTrans1D1" presStyleIdx="2" presStyleCnt="3"/>
      <dgm:spPr/>
    </dgm:pt>
    <dgm:pt modelId="{91634294-7354-434E-A473-EFC1364CA63F}" type="pres">
      <dgm:prSet presAssocID="{B77B5F0C-3EE3-5042-8A55-257E20A20B9C}" presName="textparent_4" presStyleLbl="node1" presStyleIdx="0" presStyleCnt="0"/>
      <dgm:spPr/>
    </dgm:pt>
    <dgm:pt modelId="{CE7AC96B-6BD5-C346-A348-C06DF56CE4E8}" type="pres">
      <dgm:prSet presAssocID="{B77B5F0C-3EE3-5042-8A55-257E20A20B9C}" presName="text_4" presStyleLbl="revTx" presStyleIdx="2" presStyleCnt="3">
        <dgm:presLayoutVars>
          <dgm:bulletEnabled val="1"/>
        </dgm:presLayoutVars>
      </dgm:prSet>
      <dgm:spPr/>
    </dgm:pt>
  </dgm:ptLst>
  <dgm:cxnLst>
    <dgm:cxn modelId="{77237B13-0EDB-2748-9CDB-B7DE34BB5748}" srcId="{60F45163-9F81-D64D-97CB-5DF6133C312D}" destId="{36C8E1E1-3C8D-B543-9493-4BFBA37964E3}" srcOrd="2" destOrd="0" parTransId="{447CB3DB-A4A7-0E45-AB23-9CA40D6E8B75}" sibTransId="{DEC88190-44A3-6946-9AFA-CD5C3BDAC7E2}"/>
    <dgm:cxn modelId="{20C9DF27-EC1D-1144-BE58-96C030D7E013}" type="presOf" srcId="{36C8E1E1-3C8D-B543-9493-4BFBA37964E3}" destId="{BD97C5A2-E5D2-584C-BCC2-566B4314D777}" srcOrd="0" destOrd="0" presId="urn:microsoft.com/office/officeart/2008/layout/CircularPictureCallout"/>
    <dgm:cxn modelId="{8A16CD33-8E1B-BC4C-B5C1-F10677AE00BD}" srcId="{60F45163-9F81-D64D-97CB-5DF6133C312D}" destId="{B77B5F0C-3EE3-5042-8A55-257E20A20B9C}" srcOrd="3" destOrd="0" parTransId="{BD0FC44E-1A1C-4749-80A8-3BD42AD2761A}" sibTransId="{4359C5D8-1080-6743-A24F-FB4CBB794F1E}"/>
    <dgm:cxn modelId="{EE47A336-72D8-FB4F-8A0C-A28BA0B9ACFC}" srcId="{60F45163-9F81-D64D-97CB-5DF6133C312D}" destId="{A5456A71-E5AD-764C-879A-4501122D357E}" srcOrd="1" destOrd="0" parTransId="{6CF8AE6C-4140-BB4C-9380-42B15BBC4187}" sibTransId="{969BC2B6-D119-5C47-AF7C-7B5AE50641BE}"/>
    <dgm:cxn modelId="{96D6B15D-B07A-4E4E-8AF4-9EDD77710963}" type="presOf" srcId="{969BC2B6-D119-5C47-AF7C-7B5AE50641BE}" destId="{50A7B4B2-9ADD-3B4F-B9DE-67F3734A8F7A}" srcOrd="0" destOrd="0" presId="urn:microsoft.com/office/officeart/2008/layout/CircularPictureCallout"/>
    <dgm:cxn modelId="{319FC36C-7B3B-6145-9327-8D51ED2E807C}" type="presOf" srcId="{A5456A71-E5AD-764C-879A-4501122D357E}" destId="{515BFA8B-DCBA-C141-8988-9F979C942723}" srcOrd="0" destOrd="0" presId="urn:microsoft.com/office/officeart/2008/layout/CircularPictureCallout"/>
    <dgm:cxn modelId="{7C886C75-9B76-9740-A46A-5F28F0BA5105}" type="presOf" srcId="{600EC344-CE56-9348-AD10-E7A9FF043500}" destId="{70602443-3C2F-A442-8C61-611ED1863248}" srcOrd="0" destOrd="0" presId="urn:microsoft.com/office/officeart/2008/layout/CircularPictureCallout"/>
    <dgm:cxn modelId="{01D1D87B-6BA3-E640-9AA9-A7D5DBD3F6B6}" type="presOf" srcId="{CDBBD531-2380-A546-A30D-A4416C5C9671}" destId="{6D725E52-5520-134A-A4C9-335CD72EA5B4}" srcOrd="0" destOrd="0" presId="urn:microsoft.com/office/officeart/2008/layout/CircularPictureCallout"/>
    <dgm:cxn modelId="{16C0417E-24D5-1347-A3C6-1F6A081C40D0}" type="presOf" srcId="{4359C5D8-1080-6743-A24F-FB4CBB794F1E}" destId="{AEA31E78-2A98-014E-8CB5-C9CE4ED7920E}" srcOrd="0" destOrd="0" presId="urn:microsoft.com/office/officeart/2008/layout/CircularPictureCallout"/>
    <dgm:cxn modelId="{7F8C827F-197B-F145-BE38-9B764A49D7FF}" type="presOf" srcId="{60F45163-9F81-D64D-97CB-5DF6133C312D}" destId="{9EC36FFE-4508-7640-97CE-37823FA581DC}" srcOrd="0" destOrd="0" presId="urn:microsoft.com/office/officeart/2008/layout/CircularPictureCallout"/>
    <dgm:cxn modelId="{5FC33B85-25B1-A340-8822-BE41EFB22780}" srcId="{60F45163-9F81-D64D-97CB-5DF6133C312D}" destId="{CDBBD531-2380-A546-A30D-A4416C5C9671}" srcOrd="0" destOrd="0" parTransId="{C5E3E1E8-D34A-B340-BD2E-3ED929CA7E4A}" sibTransId="{600EC344-CE56-9348-AD10-E7A9FF043500}"/>
    <dgm:cxn modelId="{927624D3-5D8B-354A-9904-F7E068223B7B}" type="presOf" srcId="{B77B5F0C-3EE3-5042-8A55-257E20A20B9C}" destId="{CE7AC96B-6BD5-C346-A348-C06DF56CE4E8}" srcOrd="0" destOrd="0" presId="urn:microsoft.com/office/officeart/2008/layout/CircularPictureCallout"/>
    <dgm:cxn modelId="{33B19FE4-909B-4A4B-8CCE-CF1CFFFB81F3}" type="presOf" srcId="{DEC88190-44A3-6946-9AFA-CD5C3BDAC7E2}" destId="{9A609329-8BEC-0946-9B30-B44EF865DC65}" srcOrd="0" destOrd="0" presId="urn:microsoft.com/office/officeart/2008/layout/CircularPictureCallout"/>
    <dgm:cxn modelId="{4BAFD4A0-A9D9-A04E-831C-92177F9FB097}" type="presParOf" srcId="{9EC36FFE-4508-7640-97CE-37823FA581DC}" destId="{8F8D61EF-AFFC-6E47-9A37-F6287EFD35D2}" srcOrd="0" destOrd="0" presId="urn:microsoft.com/office/officeart/2008/layout/CircularPictureCallout"/>
    <dgm:cxn modelId="{D2310E2F-E9EC-6A4A-A3A2-FA7206F40CC8}" type="presParOf" srcId="{8F8D61EF-AFFC-6E47-9A37-F6287EFD35D2}" destId="{B5E84D07-5BB3-F74F-A1DF-670130B1D9FF}" srcOrd="0" destOrd="0" presId="urn:microsoft.com/office/officeart/2008/layout/CircularPictureCallout"/>
    <dgm:cxn modelId="{8FC35B5A-C4FE-D64A-9AA2-0F647FC0A772}" type="presParOf" srcId="{B5E84D07-5BB3-F74F-A1DF-670130B1D9FF}" destId="{70602443-3C2F-A442-8C61-611ED1863248}" srcOrd="0" destOrd="0" presId="urn:microsoft.com/office/officeart/2008/layout/CircularPictureCallout"/>
    <dgm:cxn modelId="{190B46A1-F631-9941-87C5-54AFFA3A6A50}" type="presParOf" srcId="{8F8D61EF-AFFC-6E47-9A37-F6287EFD35D2}" destId="{6D725E52-5520-134A-A4C9-335CD72EA5B4}" srcOrd="1" destOrd="0" presId="urn:microsoft.com/office/officeart/2008/layout/CircularPictureCallout"/>
    <dgm:cxn modelId="{A46BD5C4-A3A8-F748-8640-6175F7809B04}" type="presParOf" srcId="{8F8D61EF-AFFC-6E47-9A37-F6287EFD35D2}" destId="{85062E8A-482D-734E-8B29-081383FA846E}" srcOrd="2" destOrd="0" presId="urn:microsoft.com/office/officeart/2008/layout/CircularPictureCallout"/>
    <dgm:cxn modelId="{253D677B-49DF-5E44-BBFC-52F8611BC082}" type="presParOf" srcId="{85062E8A-482D-734E-8B29-081383FA846E}" destId="{50A7B4B2-9ADD-3B4F-B9DE-67F3734A8F7A}" srcOrd="0" destOrd="0" presId="urn:microsoft.com/office/officeart/2008/layout/CircularPictureCallout"/>
    <dgm:cxn modelId="{D9CAB9CA-6FB5-E948-9C9E-5BC58DE5130D}" type="presParOf" srcId="{8F8D61EF-AFFC-6E47-9A37-F6287EFD35D2}" destId="{AEA3F65C-6732-8144-B13F-FD5ED408D96C}" srcOrd="3" destOrd="0" presId="urn:microsoft.com/office/officeart/2008/layout/CircularPictureCallout"/>
    <dgm:cxn modelId="{6B22472A-3794-4E43-90C6-42FA44BA21FD}" type="presParOf" srcId="{8F8D61EF-AFFC-6E47-9A37-F6287EFD35D2}" destId="{E505A461-9B2E-E24E-9FE5-89D1F2B13EBE}" srcOrd="4" destOrd="0" presId="urn:microsoft.com/office/officeart/2008/layout/CircularPictureCallout"/>
    <dgm:cxn modelId="{FCF88E84-3FAD-6242-A1B4-4EFA8E014931}" type="presParOf" srcId="{E505A461-9B2E-E24E-9FE5-89D1F2B13EBE}" destId="{515BFA8B-DCBA-C141-8988-9F979C942723}" srcOrd="0" destOrd="0" presId="urn:microsoft.com/office/officeart/2008/layout/CircularPictureCallout"/>
    <dgm:cxn modelId="{55D144D1-4748-B949-A3F3-5A57D2945711}" type="presParOf" srcId="{8F8D61EF-AFFC-6E47-9A37-F6287EFD35D2}" destId="{A87F7636-C36B-CB4B-8731-B7A26103AEAA}" srcOrd="5" destOrd="0" presId="urn:microsoft.com/office/officeart/2008/layout/CircularPictureCallout"/>
    <dgm:cxn modelId="{70AA38B1-BD73-814C-AED6-3CAE8E840912}" type="presParOf" srcId="{A87F7636-C36B-CB4B-8731-B7A26103AEAA}" destId="{9A609329-8BEC-0946-9B30-B44EF865DC65}" srcOrd="0" destOrd="0" presId="urn:microsoft.com/office/officeart/2008/layout/CircularPictureCallout"/>
    <dgm:cxn modelId="{0085662D-48D4-8643-B26B-B7F5F3903A48}" type="presParOf" srcId="{8F8D61EF-AFFC-6E47-9A37-F6287EFD35D2}" destId="{7965183E-8FB4-8542-8954-E5E0214E40DA}" srcOrd="6" destOrd="0" presId="urn:microsoft.com/office/officeart/2008/layout/CircularPictureCallout"/>
    <dgm:cxn modelId="{765665A5-4280-4D4B-BC34-D40D4BC676FD}" type="presParOf" srcId="{8F8D61EF-AFFC-6E47-9A37-F6287EFD35D2}" destId="{2EA03F1B-F110-F44B-AA36-2689D87F0CC6}" srcOrd="7" destOrd="0" presId="urn:microsoft.com/office/officeart/2008/layout/CircularPictureCallout"/>
    <dgm:cxn modelId="{E3035488-5CF2-E74F-9C64-1EB3495D364F}" type="presParOf" srcId="{2EA03F1B-F110-F44B-AA36-2689D87F0CC6}" destId="{BD97C5A2-E5D2-584C-BCC2-566B4314D777}" srcOrd="0" destOrd="0" presId="urn:microsoft.com/office/officeart/2008/layout/CircularPictureCallout"/>
    <dgm:cxn modelId="{B66E2B41-9354-2B4C-89C5-6FFE479196CB}" type="presParOf" srcId="{8F8D61EF-AFFC-6E47-9A37-F6287EFD35D2}" destId="{5ACB96A2-8469-DC4F-ADC8-B76F0F6A2C1F}" srcOrd="8" destOrd="0" presId="urn:microsoft.com/office/officeart/2008/layout/CircularPictureCallout"/>
    <dgm:cxn modelId="{A8DD8CD6-5E58-A849-9BCB-312BCF7C5BFF}" type="presParOf" srcId="{5ACB96A2-8469-DC4F-ADC8-B76F0F6A2C1F}" destId="{AEA31E78-2A98-014E-8CB5-C9CE4ED7920E}" srcOrd="0" destOrd="0" presId="urn:microsoft.com/office/officeart/2008/layout/CircularPictureCallout"/>
    <dgm:cxn modelId="{46A27D2D-3B19-F84E-96E1-DB91035ED19B}" type="presParOf" srcId="{8F8D61EF-AFFC-6E47-9A37-F6287EFD35D2}" destId="{8EFB36C4-66E5-8148-8755-785AEDDF615F}" srcOrd="9" destOrd="0" presId="urn:microsoft.com/office/officeart/2008/layout/CircularPictureCallout"/>
    <dgm:cxn modelId="{43158886-AAC0-8247-8CF9-2B04FCD71936}" type="presParOf" srcId="{8F8D61EF-AFFC-6E47-9A37-F6287EFD35D2}" destId="{91634294-7354-434E-A473-EFC1364CA63F}" srcOrd="10" destOrd="0" presId="urn:microsoft.com/office/officeart/2008/layout/CircularPictureCallout"/>
    <dgm:cxn modelId="{7178185A-B829-224F-8342-CCA19A95614D}" type="presParOf" srcId="{91634294-7354-434E-A473-EFC1364CA63F}" destId="{CE7AC96B-6BD5-C346-A348-C06DF56CE4E8}" srcOrd="0" destOrd="0" presId="urn:microsoft.com/office/officeart/2008/layout/CircularPictureCallou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06EA0C8-84C7-DD46-BCBB-B41F5915AFFE}" type="doc">
      <dgm:prSet loTypeId="urn:microsoft.com/office/officeart/2005/8/layout/radial2" loCatId="" qsTypeId="urn:microsoft.com/office/officeart/2005/8/quickstyle/simple1" qsCatId="simple" csTypeId="urn:microsoft.com/office/officeart/2005/8/colors/accent1_2" csCatId="accent1" phldr="1"/>
      <dgm:spPr/>
      <dgm:t>
        <a:bodyPr/>
        <a:lstStyle/>
        <a:p>
          <a:endParaRPr lang="en-US"/>
        </a:p>
      </dgm:t>
    </dgm:pt>
    <dgm:pt modelId="{28B1DD92-4F7A-2143-8F40-8AB84F0E9B25}">
      <dgm:prSet phldrT="[Text]"/>
      <dgm:spPr/>
      <dgm:t>
        <a:bodyPr/>
        <a:lstStyle/>
        <a:p>
          <a:r>
            <a:rPr lang="en-US" dirty="0"/>
            <a:t>Data Integrity</a:t>
          </a:r>
        </a:p>
      </dgm:t>
    </dgm:pt>
    <dgm:pt modelId="{54BF6620-C928-C644-BD77-CF574FB28598}" type="parTrans" cxnId="{6FBEE3A5-CD04-F04B-9210-BF13FA4DB5D1}">
      <dgm:prSet/>
      <dgm:spPr/>
      <dgm:t>
        <a:bodyPr/>
        <a:lstStyle/>
        <a:p>
          <a:endParaRPr lang="en-US"/>
        </a:p>
      </dgm:t>
    </dgm:pt>
    <dgm:pt modelId="{19424E20-FF3B-124B-80C4-FB2A1218EFBA}" type="sibTrans" cxnId="{6FBEE3A5-CD04-F04B-9210-BF13FA4DB5D1}">
      <dgm:prSet/>
      <dgm:spPr/>
      <dgm:t>
        <a:bodyPr/>
        <a:lstStyle/>
        <a:p>
          <a:endParaRPr lang="en-US"/>
        </a:p>
      </dgm:t>
    </dgm:pt>
    <dgm:pt modelId="{98AF7A51-D095-9048-B674-066B9BC75EFD}">
      <dgm:prSet phldrT="[Text]"/>
      <dgm:spPr/>
      <dgm:t>
        <a:bodyPr/>
        <a:lstStyle/>
        <a:p>
          <a:r>
            <a:rPr lang="en-US" dirty="0"/>
            <a:t>Sample data</a:t>
          </a:r>
        </a:p>
      </dgm:t>
    </dgm:pt>
    <dgm:pt modelId="{91986637-8BB7-1445-B470-4F3072239649}" type="parTrans" cxnId="{19239403-899B-084E-AC8B-38AC1F46B6C9}">
      <dgm:prSet/>
      <dgm:spPr/>
      <dgm:t>
        <a:bodyPr/>
        <a:lstStyle/>
        <a:p>
          <a:endParaRPr lang="en-US"/>
        </a:p>
      </dgm:t>
    </dgm:pt>
    <dgm:pt modelId="{14FB1CA5-29C8-DB4C-A18C-1617D1C2A6CA}" type="sibTrans" cxnId="{19239403-899B-084E-AC8B-38AC1F46B6C9}">
      <dgm:prSet/>
      <dgm:spPr/>
      <dgm:t>
        <a:bodyPr/>
        <a:lstStyle/>
        <a:p>
          <a:endParaRPr lang="en-US"/>
        </a:p>
      </dgm:t>
    </dgm:pt>
    <dgm:pt modelId="{92766421-FE56-284F-A45F-7E1DBDE653AE}">
      <dgm:prSet phldrT="[Text]"/>
      <dgm:spPr/>
      <dgm:t>
        <a:bodyPr/>
        <a:lstStyle/>
        <a:p>
          <a:r>
            <a:rPr lang="en-US" dirty="0"/>
            <a:t>Multiplicity of reports</a:t>
          </a:r>
        </a:p>
      </dgm:t>
    </dgm:pt>
    <dgm:pt modelId="{B0362898-A37B-F244-9285-A637F3D2CB8F}" type="parTrans" cxnId="{22EEFBFE-257E-FC40-A626-EC2B44CDC35C}">
      <dgm:prSet/>
      <dgm:spPr/>
      <dgm:t>
        <a:bodyPr/>
        <a:lstStyle/>
        <a:p>
          <a:endParaRPr lang="en-US"/>
        </a:p>
      </dgm:t>
    </dgm:pt>
    <dgm:pt modelId="{D64742D0-46D4-2142-BA1F-6A54BABF9362}" type="sibTrans" cxnId="{22EEFBFE-257E-FC40-A626-EC2B44CDC35C}">
      <dgm:prSet/>
      <dgm:spPr/>
      <dgm:t>
        <a:bodyPr/>
        <a:lstStyle/>
        <a:p>
          <a:endParaRPr lang="en-US"/>
        </a:p>
      </dgm:t>
    </dgm:pt>
    <dgm:pt modelId="{A373B3FD-EDD3-1047-8724-FB3A35613A65}">
      <dgm:prSet phldrT="[Text]"/>
      <dgm:spPr/>
      <dgm:t>
        <a:bodyPr/>
        <a:lstStyle/>
        <a:p>
          <a:r>
            <a:rPr lang="en-US" dirty="0"/>
            <a:t>Lag in data</a:t>
          </a:r>
        </a:p>
      </dgm:t>
    </dgm:pt>
    <dgm:pt modelId="{C4CE4E37-9C9B-BE4D-8E23-00BDFA959ED1}" type="parTrans" cxnId="{26B80DFF-A14F-254B-B4D3-47BF93C695DC}">
      <dgm:prSet/>
      <dgm:spPr/>
      <dgm:t>
        <a:bodyPr/>
        <a:lstStyle/>
        <a:p>
          <a:endParaRPr lang="en-US"/>
        </a:p>
      </dgm:t>
    </dgm:pt>
    <dgm:pt modelId="{B806CA04-A82C-584A-B626-BE6D316D8E0C}" type="sibTrans" cxnId="{26B80DFF-A14F-254B-B4D3-47BF93C695DC}">
      <dgm:prSet/>
      <dgm:spPr/>
      <dgm:t>
        <a:bodyPr/>
        <a:lstStyle/>
        <a:p>
          <a:endParaRPr lang="en-US"/>
        </a:p>
      </dgm:t>
    </dgm:pt>
    <dgm:pt modelId="{C46F84F7-D929-6F42-B975-61F3E7FFB5C4}">
      <dgm:prSet phldrT="[Text]"/>
      <dgm:spPr/>
      <dgm:t>
        <a:bodyPr/>
        <a:lstStyle/>
        <a:p>
          <a:r>
            <a:rPr lang="en-US" dirty="0"/>
            <a:t>Census</a:t>
          </a:r>
        </a:p>
      </dgm:t>
    </dgm:pt>
    <dgm:pt modelId="{5E7A0949-49CF-EA4E-A844-47CE6BAC780D}" type="parTrans" cxnId="{458CD8C4-3424-3F4C-B510-4B39C6967D09}">
      <dgm:prSet/>
      <dgm:spPr/>
      <dgm:t>
        <a:bodyPr/>
        <a:lstStyle/>
        <a:p>
          <a:endParaRPr lang="en-US"/>
        </a:p>
      </dgm:t>
    </dgm:pt>
    <dgm:pt modelId="{A1E9A66B-48AD-C848-9F89-DE205E829705}" type="sibTrans" cxnId="{458CD8C4-3424-3F4C-B510-4B39C6967D09}">
      <dgm:prSet/>
      <dgm:spPr/>
      <dgm:t>
        <a:bodyPr/>
        <a:lstStyle/>
        <a:p>
          <a:endParaRPr lang="en-US"/>
        </a:p>
      </dgm:t>
    </dgm:pt>
    <dgm:pt modelId="{64F094E9-9628-6841-B9D0-780FDC97A47D}">
      <dgm:prSet phldrT="[Text]"/>
      <dgm:spPr/>
      <dgm:t>
        <a:bodyPr/>
        <a:lstStyle/>
        <a:p>
          <a:r>
            <a:rPr lang="en-US" dirty="0"/>
            <a:t>NFHS</a:t>
          </a:r>
        </a:p>
      </dgm:t>
    </dgm:pt>
    <dgm:pt modelId="{B6F84537-1D78-1C4C-AC26-211B7759C75C}" type="parTrans" cxnId="{9FBE3CB3-3146-D240-9E62-6540C4BF75D5}">
      <dgm:prSet/>
      <dgm:spPr/>
      <dgm:t>
        <a:bodyPr/>
        <a:lstStyle/>
        <a:p>
          <a:endParaRPr lang="en-US"/>
        </a:p>
      </dgm:t>
    </dgm:pt>
    <dgm:pt modelId="{C740B832-5C63-5547-875F-2CE26CD471AE}" type="sibTrans" cxnId="{9FBE3CB3-3146-D240-9E62-6540C4BF75D5}">
      <dgm:prSet/>
      <dgm:spPr/>
      <dgm:t>
        <a:bodyPr/>
        <a:lstStyle/>
        <a:p>
          <a:endParaRPr lang="en-US"/>
        </a:p>
      </dgm:t>
    </dgm:pt>
    <dgm:pt modelId="{F1CBBC09-03F3-6144-B0B9-31AE67D45E15}">
      <dgm:prSet phldrT="[Text]"/>
      <dgm:spPr/>
      <dgm:t>
        <a:bodyPr/>
        <a:lstStyle/>
        <a:p>
          <a:r>
            <a:rPr lang="en-US" dirty="0"/>
            <a:t>Data Analysis</a:t>
          </a:r>
        </a:p>
      </dgm:t>
    </dgm:pt>
    <dgm:pt modelId="{AC23B849-E8C7-B946-B10C-D4849D399223}" type="parTrans" cxnId="{93626DFB-32AC-8A43-852D-17274A20F65B}">
      <dgm:prSet/>
      <dgm:spPr/>
      <dgm:t>
        <a:bodyPr/>
        <a:lstStyle/>
        <a:p>
          <a:endParaRPr lang="en-US"/>
        </a:p>
      </dgm:t>
    </dgm:pt>
    <dgm:pt modelId="{C41DFD45-6B9E-154E-AE44-24296DCAB342}" type="sibTrans" cxnId="{93626DFB-32AC-8A43-852D-17274A20F65B}">
      <dgm:prSet/>
      <dgm:spPr/>
      <dgm:t>
        <a:bodyPr/>
        <a:lstStyle/>
        <a:p>
          <a:endParaRPr lang="en-US"/>
        </a:p>
      </dgm:t>
    </dgm:pt>
    <dgm:pt modelId="{AB9C600D-EAD3-E641-9E11-C610A5DB6470}">
      <dgm:prSet phldrT="[Text]"/>
      <dgm:spPr/>
      <dgm:t>
        <a:bodyPr/>
        <a:lstStyle/>
        <a:p>
          <a:r>
            <a:rPr lang="en-US" dirty="0"/>
            <a:t>District/ Taluka/ Village</a:t>
          </a:r>
        </a:p>
      </dgm:t>
    </dgm:pt>
    <dgm:pt modelId="{78D9B271-A0E1-9743-AB1F-7D8640318CDD}" type="parTrans" cxnId="{9647628A-D21D-3A4F-89DB-3B700C4DAFE2}">
      <dgm:prSet/>
      <dgm:spPr/>
      <dgm:t>
        <a:bodyPr/>
        <a:lstStyle/>
        <a:p>
          <a:endParaRPr lang="en-US"/>
        </a:p>
      </dgm:t>
    </dgm:pt>
    <dgm:pt modelId="{97775162-24F6-624D-9F46-9755CAF5EA23}" type="sibTrans" cxnId="{9647628A-D21D-3A4F-89DB-3B700C4DAFE2}">
      <dgm:prSet/>
      <dgm:spPr/>
      <dgm:t>
        <a:bodyPr/>
        <a:lstStyle/>
        <a:p>
          <a:endParaRPr lang="en-US"/>
        </a:p>
      </dgm:t>
    </dgm:pt>
    <dgm:pt modelId="{715207FC-1C9C-0E44-80B5-0FF01B751642}">
      <dgm:prSet phldrT="[Text]"/>
      <dgm:spPr/>
      <dgm:t>
        <a:bodyPr/>
        <a:lstStyle/>
        <a:p>
          <a:r>
            <a:rPr lang="en-US" dirty="0"/>
            <a:t>Data visualization</a:t>
          </a:r>
        </a:p>
      </dgm:t>
    </dgm:pt>
    <dgm:pt modelId="{D28C7CF7-6E30-CC4D-82C3-78B5FD0A7798}" type="parTrans" cxnId="{DC8786C2-C0C8-5845-89F6-86F249F31FD1}">
      <dgm:prSet/>
      <dgm:spPr/>
      <dgm:t>
        <a:bodyPr/>
        <a:lstStyle/>
        <a:p>
          <a:endParaRPr lang="en-US"/>
        </a:p>
      </dgm:t>
    </dgm:pt>
    <dgm:pt modelId="{A3A9FF0B-1402-8340-BF39-964BB1697DA1}" type="sibTrans" cxnId="{DC8786C2-C0C8-5845-89F6-86F249F31FD1}">
      <dgm:prSet/>
      <dgm:spPr/>
      <dgm:t>
        <a:bodyPr/>
        <a:lstStyle/>
        <a:p>
          <a:endParaRPr lang="en-US"/>
        </a:p>
      </dgm:t>
    </dgm:pt>
    <dgm:pt modelId="{430F8ACE-9E50-3544-B880-B2F8D2B237EA}" type="pres">
      <dgm:prSet presAssocID="{B06EA0C8-84C7-DD46-BCBB-B41F5915AFFE}" presName="composite" presStyleCnt="0">
        <dgm:presLayoutVars>
          <dgm:chMax val="5"/>
          <dgm:dir/>
          <dgm:animLvl val="ctr"/>
          <dgm:resizeHandles val="exact"/>
        </dgm:presLayoutVars>
      </dgm:prSet>
      <dgm:spPr/>
    </dgm:pt>
    <dgm:pt modelId="{3ED97E10-F7E3-4E43-B50F-57528A64F2DA}" type="pres">
      <dgm:prSet presAssocID="{B06EA0C8-84C7-DD46-BCBB-B41F5915AFFE}" presName="cycle" presStyleCnt="0"/>
      <dgm:spPr/>
    </dgm:pt>
    <dgm:pt modelId="{623CA7F6-088C-1D46-A47C-0AAB53A43065}" type="pres">
      <dgm:prSet presAssocID="{B06EA0C8-84C7-DD46-BCBB-B41F5915AFFE}" presName="centerShape" presStyleCnt="0"/>
      <dgm:spPr/>
    </dgm:pt>
    <dgm:pt modelId="{7048637C-2909-AC43-80CA-CCB73880F92A}" type="pres">
      <dgm:prSet presAssocID="{B06EA0C8-84C7-DD46-BCBB-B41F5915AFFE}" presName="connSite" presStyleLbl="node1" presStyleIdx="0" presStyleCnt="4"/>
      <dgm:spPr/>
    </dgm:pt>
    <dgm:pt modelId="{8F55443F-B60F-1745-B677-10681015C5BA}" type="pres">
      <dgm:prSet presAssocID="{B06EA0C8-84C7-DD46-BCBB-B41F5915AFFE}" presName="visible" presStyleLbl="node1" presStyleIdx="0" presStyleCnt="4" custScaleX="101616" custScaleY="94466"/>
      <dgm:spPr>
        <a:blipFill>
          <a:blip xmlns:r="http://schemas.openxmlformats.org/officeDocument/2006/relationships" r:embed="rId1">
            <a:extLst>
              <a:ext uri="{28A0092B-C50C-407E-A947-70E740481C1C}">
                <a14:useLocalDpi xmlns:a14="http://schemas.microsoft.com/office/drawing/2010/main" val="0"/>
              </a:ext>
            </a:extLst>
          </a:blip>
          <a:srcRect/>
          <a:stretch>
            <a:fillRect l="-28000" r="-28000"/>
          </a:stretch>
        </a:blipFill>
      </dgm:spPr>
    </dgm:pt>
    <dgm:pt modelId="{2DAFC762-22B8-4E47-AB3F-5872EC60ADA9}" type="pres">
      <dgm:prSet presAssocID="{54BF6620-C928-C644-BD77-CF574FB28598}" presName="Name25" presStyleLbl="parChTrans1D1" presStyleIdx="0" presStyleCnt="3"/>
      <dgm:spPr/>
    </dgm:pt>
    <dgm:pt modelId="{5275063C-B7DE-2B42-B6C3-820EB2F6B380}" type="pres">
      <dgm:prSet presAssocID="{28B1DD92-4F7A-2143-8F40-8AB84F0E9B25}" presName="node" presStyleCnt="0"/>
      <dgm:spPr/>
    </dgm:pt>
    <dgm:pt modelId="{DFD656B5-4244-3A40-B8A4-6B59A62439D0}" type="pres">
      <dgm:prSet presAssocID="{28B1DD92-4F7A-2143-8F40-8AB84F0E9B25}" presName="parentNode" presStyleLbl="node1" presStyleIdx="1" presStyleCnt="4">
        <dgm:presLayoutVars>
          <dgm:chMax val="1"/>
          <dgm:bulletEnabled val="1"/>
        </dgm:presLayoutVars>
      </dgm:prSet>
      <dgm:spPr/>
    </dgm:pt>
    <dgm:pt modelId="{124DA6A8-4F1B-4446-9AEE-AD37A9FDD4EE}" type="pres">
      <dgm:prSet presAssocID="{28B1DD92-4F7A-2143-8F40-8AB84F0E9B25}" presName="childNode" presStyleLbl="revTx" presStyleIdx="0" presStyleCnt="3">
        <dgm:presLayoutVars>
          <dgm:bulletEnabled val="1"/>
        </dgm:presLayoutVars>
      </dgm:prSet>
      <dgm:spPr/>
    </dgm:pt>
    <dgm:pt modelId="{57334239-CFEB-1A41-9F85-7B49D14E86E9}" type="pres">
      <dgm:prSet presAssocID="{C4CE4E37-9C9B-BE4D-8E23-00BDFA959ED1}" presName="Name25" presStyleLbl="parChTrans1D1" presStyleIdx="1" presStyleCnt="3"/>
      <dgm:spPr/>
    </dgm:pt>
    <dgm:pt modelId="{2A8D527F-8AD4-CD47-81D1-52108891BAC2}" type="pres">
      <dgm:prSet presAssocID="{A373B3FD-EDD3-1047-8724-FB3A35613A65}" presName="node" presStyleCnt="0"/>
      <dgm:spPr/>
    </dgm:pt>
    <dgm:pt modelId="{0D010126-D357-604D-8E01-825DCAEE6080}" type="pres">
      <dgm:prSet presAssocID="{A373B3FD-EDD3-1047-8724-FB3A35613A65}" presName="parentNode" presStyleLbl="node1" presStyleIdx="2" presStyleCnt="4">
        <dgm:presLayoutVars>
          <dgm:chMax val="1"/>
          <dgm:bulletEnabled val="1"/>
        </dgm:presLayoutVars>
      </dgm:prSet>
      <dgm:spPr/>
    </dgm:pt>
    <dgm:pt modelId="{4CD3227A-6440-1044-BF1C-31E1898FFABA}" type="pres">
      <dgm:prSet presAssocID="{A373B3FD-EDD3-1047-8724-FB3A35613A65}" presName="childNode" presStyleLbl="revTx" presStyleIdx="1" presStyleCnt="3">
        <dgm:presLayoutVars>
          <dgm:bulletEnabled val="1"/>
        </dgm:presLayoutVars>
      </dgm:prSet>
      <dgm:spPr/>
    </dgm:pt>
    <dgm:pt modelId="{A05C596C-C5CA-224D-A1F4-DEE9F8036B06}" type="pres">
      <dgm:prSet presAssocID="{AC23B849-E8C7-B946-B10C-D4849D399223}" presName="Name25" presStyleLbl="parChTrans1D1" presStyleIdx="2" presStyleCnt="3"/>
      <dgm:spPr/>
    </dgm:pt>
    <dgm:pt modelId="{DA7B3519-36DB-CB42-AC1E-A1C45C7386E3}" type="pres">
      <dgm:prSet presAssocID="{F1CBBC09-03F3-6144-B0B9-31AE67D45E15}" presName="node" presStyleCnt="0"/>
      <dgm:spPr/>
    </dgm:pt>
    <dgm:pt modelId="{4C224D8C-3AEF-2446-987B-BA5D52847100}" type="pres">
      <dgm:prSet presAssocID="{F1CBBC09-03F3-6144-B0B9-31AE67D45E15}" presName="parentNode" presStyleLbl="node1" presStyleIdx="3" presStyleCnt="4">
        <dgm:presLayoutVars>
          <dgm:chMax val="1"/>
          <dgm:bulletEnabled val="1"/>
        </dgm:presLayoutVars>
      </dgm:prSet>
      <dgm:spPr/>
    </dgm:pt>
    <dgm:pt modelId="{77F8FBF1-4AFC-D848-A162-A8547E86E0BD}" type="pres">
      <dgm:prSet presAssocID="{F1CBBC09-03F3-6144-B0B9-31AE67D45E15}" presName="childNode" presStyleLbl="revTx" presStyleIdx="2" presStyleCnt="3">
        <dgm:presLayoutVars>
          <dgm:bulletEnabled val="1"/>
        </dgm:presLayoutVars>
      </dgm:prSet>
      <dgm:spPr/>
    </dgm:pt>
  </dgm:ptLst>
  <dgm:cxnLst>
    <dgm:cxn modelId="{19239403-899B-084E-AC8B-38AC1F46B6C9}" srcId="{28B1DD92-4F7A-2143-8F40-8AB84F0E9B25}" destId="{98AF7A51-D095-9048-B674-066B9BC75EFD}" srcOrd="0" destOrd="0" parTransId="{91986637-8BB7-1445-B470-4F3072239649}" sibTransId="{14FB1CA5-29C8-DB4C-A18C-1617D1C2A6CA}"/>
    <dgm:cxn modelId="{5696C819-DC73-4B44-A98E-AD4A08215BA2}" type="presOf" srcId="{F1CBBC09-03F3-6144-B0B9-31AE67D45E15}" destId="{4C224D8C-3AEF-2446-987B-BA5D52847100}" srcOrd="0" destOrd="0" presId="urn:microsoft.com/office/officeart/2005/8/layout/radial2"/>
    <dgm:cxn modelId="{9005811D-64A5-6A42-B969-FDE2D0F0A6B5}" type="presOf" srcId="{C4CE4E37-9C9B-BE4D-8E23-00BDFA959ED1}" destId="{57334239-CFEB-1A41-9F85-7B49D14E86E9}" srcOrd="0" destOrd="0" presId="urn:microsoft.com/office/officeart/2005/8/layout/radial2"/>
    <dgm:cxn modelId="{D78B102C-CB8B-CB4B-9865-CB32078B5578}" type="presOf" srcId="{B06EA0C8-84C7-DD46-BCBB-B41F5915AFFE}" destId="{430F8ACE-9E50-3544-B880-B2F8D2B237EA}" srcOrd="0" destOrd="0" presId="urn:microsoft.com/office/officeart/2005/8/layout/radial2"/>
    <dgm:cxn modelId="{9650C535-8936-394C-92BA-94135B3F70FB}" type="presOf" srcId="{98AF7A51-D095-9048-B674-066B9BC75EFD}" destId="{124DA6A8-4F1B-4446-9AEE-AD37A9FDD4EE}" srcOrd="0" destOrd="0" presId="urn:microsoft.com/office/officeart/2005/8/layout/radial2"/>
    <dgm:cxn modelId="{862CCF35-67E9-4B41-AA60-079B66849016}" type="presOf" srcId="{AC23B849-E8C7-B946-B10C-D4849D399223}" destId="{A05C596C-C5CA-224D-A1F4-DEE9F8036B06}" srcOrd="0" destOrd="0" presId="urn:microsoft.com/office/officeart/2005/8/layout/radial2"/>
    <dgm:cxn modelId="{70FE8036-65A1-7A49-8853-F104888BBE34}" type="presOf" srcId="{28B1DD92-4F7A-2143-8F40-8AB84F0E9B25}" destId="{DFD656B5-4244-3A40-B8A4-6B59A62439D0}" srcOrd="0" destOrd="0" presId="urn:microsoft.com/office/officeart/2005/8/layout/radial2"/>
    <dgm:cxn modelId="{9647628A-D21D-3A4F-89DB-3B700C4DAFE2}" srcId="{F1CBBC09-03F3-6144-B0B9-31AE67D45E15}" destId="{AB9C600D-EAD3-E641-9E11-C610A5DB6470}" srcOrd="0" destOrd="0" parTransId="{78D9B271-A0E1-9743-AB1F-7D8640318CDD}" sibTransId="{97775162-24F6-624D-9F46-9755CAF5EA23}"/>
    <dgm:cxn modelId="{3DF4ED8F-2651-6349-B61B-78844F69325D}" type="presOf" srcId="{54BF6620-C928-C644-BD77-CF574FB28598}" destId="{2DAFC762-22B8-4E47-AB3F-5872EC60ADA9}" srcOrd="0" destOrd="0" presId="urn:microsoft.com/office/officeart/2005/8/layout/radial2"/>
    <dgm:cxn modelId="{1659C8A4-C1D2-E04C-9B30-2C05653F5CE5}" type="presOf" srcId="{AB9C600D-EAD3-E641-9E11-C610A5DB6470}" destId="{77F8FBF1-4AFC-D848-A162-A8547E86E0BD}" srcOrd="0" destOrd="0" presId="urn:microsoft.com/office/officeart/2005/8/layout/radial2"/>
    <dgm:cxn modelId="{6FBEE3A5-CD04-F04B-9210-BF13FA4DB5D1}" srcId="{B06EA0C8-84C7-DD46-BCBB-B41F5915AFFE}" destId="{28B1DD92-4F7A-2143-8F40-8AB84F0E9B25}" srcOrd="0" destOrd="0" parTransId="{54BF6620-C928-C644-BD77-CF574FB28598}" sibTransId="{19424E20-FF3B-124B-80C4-FB2A1218EFBA}"/>
    <dgm:cxn modelId="{089F2DAE-C3BC-B84E-9022-781C2581FCBB}" type="presOf" srcId="{64F094E9-9628-6841-B9D0-780FDC97A47D}" destId="{4CD3227A-6440-1044-BF1C-31E1898FFABA}" srcOrd="0" destOrd="1" presId="urn:microsoft.com/office/officeart/2005/8/layout/radial2"/>
    <dgm:cxn modelId="{9FBE3CB3-3146-D240-9E62-6540C4BF75D5}" srcId="{A373B3FD-EDD3-1047-8724-FB3A35613A65}" destId="{64F094E9-9628-6841-B9D0-780FDC97A47D}" srcOrd="1" destOrd="0" parTransId="{B6F84537-1D78-1C4C-AC26-211B7759C75C}" sibTransId="{C740B832-5C63-5547-875F-2CE26CD471AE}"/>
    <dgm:cxn modelId="{DC8786C2-C0C8-5845-89F6-86F249F31FD1}" srcId="{F1CBBC09-03F3-6144-B0B9-31AE67D45E15}" destId="{715207FC-1C9C-0E44-80B5-0FF01B751642}" srcOrd="1" destOrd="0" parTransId="{D28C7CF7-6E30-CC4D-82C3-78B5FD0A7798}" sibTransId="{A3A9FF0B-1402-8340-BF39-964BB1697DA1}"/>
    <dgm:cxn modelId="{458CD8C4-3424-3F4C-B510-4B39C6967D09}" srcId="{A373B3FD-EDD3-1047-8724-FB3A35613A65}" destId="{C46F84F7-D929-6F42-B975-61F3E7FFB5C4}" srcOrd="0" destOrd="0" parTransId="{5E7A0949-49CF-EA4E-A844-47CE6BAC780D}" sibTransId="{A1E9A66B-48AD-C848-9F89-DE205E829705}"/>
    <dgm:cxn modelId="{828663C8-9477-F342-BF39-397F193BA165}" type="presOf" srcId="{92766421-FE56-284F-A45F-7E1DBDE653AE}" destId="{124DA6A8-4F1B-4446-9AEE-AD37A9FDD4EE}" srcOrd="0" destOrd="1" presId="urn:microsoft.com/office/officeart/2005/8/layout/radial2"/>
    <dgm:cxn modelId="{BE43B2D3-8571-6540-A1FF-447B3CE0679E}" type="presOf" srcId="{A373B3FD-EDD3-1047-8724-FB3A35613A65}" destId="{0D010126-D357-604D-8E01-825DCAEE6080}" srcOrd="0" destOrd="0" presId="urn:microsoft.com/office/officeart/2005/8/layout/radial2"/>
    <dgm:cxn modelId="{D33E91D5-9970-0345-AE98-7B262FE35269}" type="presOf" srcId="{C46F84F7-D929-6F42-B975-61F3E7FFB5C4}" destId="{4CD3227A-6440-1044-BF1C-31E1898FFABA}" srcOrd="0" destOrd="0" presId="urn:microsoft.com/office/officeart/2005/8/layout/radial2"/>
    <dgm:cxn modelId="{7817E3F6-0FA2-394E-8010-C508A67AE7E9}" type="presOf" srcId="{715207FC-1C9C-0E44-80B5-0FF01B751642}" destId="{77F8FBF1-4AFC-D848-A162-A8547E86E0BD}" srcOrd="0" destOrd="1" presId="urn:microsoft.com/office/officeart/2005/8/layout/radial2"/>
    <dgm:cxn modelId="{93626DFB-32AC-8A43-852D-17274A20F65B}" srcId="{B06EA0C8-84C7-DD46-BCBB-B41F5915AFFE}" destId="{F1CBBC09-03F3-6144-B0B9-31AE67D45E15}" srcOrd="2" destOrd="0" parTransId="{AC23B849-E8C7-B946-B10C-D4849D399223}" sibTransId="{C41DFD45-6B9E-154E-AE44-24296DCAB342}"/>
    <dgm:cxn modelId="{22EEFBFE-257E-FC40-A626-EC2B44CDC35C}" srcId="{28B1DD92-4F7A-2143-8F40-8AB84F0E9B25}" destId="{92766421-FE56-284F-A45F-7E1DBDE653AE}" srcOrd="1" destOrd="0" parTransId="{B0362898-A37B-F244-9285-A637F3D2CB8F}" sibTransId="{D64742D0-46D4-2142-BA1F-6A54BABF9362}"/>
    <dgm:cxn modelId="{26B80DFF-A14F-254B-B4D3-47BF93C695DC}" srcId="{B06EA0C8-84C7-DD46-BCBB-B41F5915AFFE}" destId="{A373B3FD-EDD3-1047-8724-FB3A35613A65}" srcOrd="1" destOrd="0" parTransId="{C4CE4E37-9C9B-BE4D-8E23-00BDFA959ED1}" sibTransId="{B806CA04-A82C-584A-B626-BE6D316D8E0C}"/>
    <dgm:cxn modelId="{093DFEEB-0316-FF47-9321-6113B2AEDA12}" type="presParOf" srcId="{430F8ACE-9E50-3544-B880-B2F8D2B237EA}" destId="{3ED97E10-F7E3-4E43-B50F-57528A64F2DA}" srcOrd="0" destOrd="0" presId="urn:microsoft.com/office/officeart/2005/8/layout/radial2"/>
    <dgm:cxn modelId="{76A43692-C610-B946-8192-A99C8387EFD6}" type="presParOf" srcId="{3ED97E10-F7E3-4E43-B50F-57528A64F2DA}" destId="{623CA7F6-088C-1D46-A47C-0AAB53A43065}" srcOrd="0" destOrd="0" presId="urn:microsoft.com/office/officeart/2005/8/layout/radial2"/>
    <dgm:cxn modelId="{51030490-97E5-784B-B893-36B64863B418}" type="presParOf" srcId="{623CA7F6-088C-1D46-A47C-0AAB53A43065}" destId="{7048637C-2909-AC43-80CA-CCB73880F92A}" srcOrd="0" destOrd="0" presId="urn:microsoft.com/office/officeart/2005/8/layout/radial2"/>
    <dgm:cxn modelId="{007577C6-0A6D-F444-B91E-E92EE8A85942}" type="presParOf" srcId="{623CA7F6-088C-1D46-A47C-0AAB53A43065}" destId="{8F55443F-B60F-1745-B677-10681015C5BA}" srcOrd="1" destOrd="0" presId="urn:microsoft.com/office/officeart/2005/8/layout/radial2"/>
    <dgm:cxn modelId="{6476CF51-D72A-9848-855C-86A7BC1D5FBE}" type="presParOf" srcId="{3ED97E10-F7E3-4E43-B50F-57528A64F2DA}" destId="{2DAFC762-22B8-4E47-AB3F-5872EC60ADA9}" srcOrd="1" destOrd="0" presId="urn:microsoft.com/office/officeart/2005/8/layout/radial2"/>
    <dgm:cxn modelId="{B840D79C-7C75-4948-9D38-C4E88E36D59B}" type="presParOf" srcId="{3ED97E10-F7E3-4E43-B50F-57528A64F2DA}" destId="{5275063C-B7DE-2B42-B6C3-820EB2F6B380}" srcOrd="2" destOrd="0" presId="urn:microsoft.com/office/officeart/2005/8/layout/radial2"/>
    <dgm:cxn modelId="{8A7ACEA6-2B32-BF42-9CD2-C28662AC5B16}" type="presParOf" srcId="{5275063C-B7DE-2B42-B6C3-820EB2F6B380}" destId="{DFD656B5-4244-3A40-B8A4-6B59A62439D0}" srcOrd="0" destOrd="0" presId="urn:microsoft.com/office/officeart/2005/8/layout/radial2"/>
    <dgm:cxn modelId="{BC8B0BAA-5658-C948-A187-039058B87306}" type="presParOf" srcId="{5275063C-B7DE-2B42-B6C3-820EB2F6B380}" destId="{124DA6A8-4F1B-4446-9AEE-AD37A9FDD4EE}" srcOrd="1" destOrd="0" presId="urn:microsoft.com/office/officeart/2005/8/layout/radial2"/>
    <dgm:cxn modelId="{0585EEE1-CCBF-E44D-93EE-385EC6E7B000}" type="presParOf" srcId="{3ED97E10-F7E3-4E43-B50F-57528A64F2DA}" destId="{57334239-CFEB-1A41-9F85-7B49D14E86E9}" srcOrd="3" destOrd="0" presId="urn:microsoft.com/office/officeart/2005/8/layout/radial2"/>
    <dgm:cxn modelId="{93A95791-35E6-A946-AB42-84342CFDAB82}" type="presParOf" srcId="{3ED97E10-F7E3-4E43-B50F-57528A64F2DA}" destId="{2A8D527F-8AD4-CD47-81D1-52108891BAC2}" srcOrd="4" destOrd="0" presId="urn:microsoft.com/office/officeart/2005/8/layout/radial2"/>
    <dgm:cxn modelId="{09088745-883C-544F-925F-FB51DB1EABE6}" type="presParOf" srcId="{2A8D527F-8AD4-CD47-81D1-52108891BAC2}" destId="{0D010126-D357-604D-8E01-825DCAEE6080}" srcOrd="0" destOrd="0" presId="urn:microsoft.com/office/officeart/2005/8/layout/radial2"/>
    <dgm:cxn modelId="{6E62A4FF-00CD-2E44-B5E5-A3430889F56C}" type="presParOf" srcId="{2A8D527F-8AD4-CD47-81D1-52108891BAC2}" destId="{4CD3227A-6440-1044-BF1C-31E1898FFABA}" srcOrd="1" destOrd="0" presId="urn:microsoft.com/office/officeart/2005/8/layout/radial2"/>
    <dgm:cxn modelId="{B49F6E0A-D86E-6144-9882-0E6D40558001}" type="presParOf" srcId="{3ED97E10-F7E3-4E43-B50F-57528A64F2DA}" destId="{A05C596C-C5CA-224D-A1F4-DEE9F8036B06}" srcOrd="5" destOrd="0" presId="urn:microsoft.com/office/officeart/2005/8/layout/radial2"/>
    <dgm:cxn modelId="{A44BFB43-03B4-7342-8968-BEFC111C61DA}" type="presParOf" srcId="{3ED97E10-F7E3-4E43-B50F-57528A64F2DA}" destId="{DA7B3519-36DB-CB42-AC1E-A1C45C7386E3}" srcOrd="6" destOrd="0" presId="urn:microsoft.com/office/officeart/2005/8/layout/radial2"/>
    <dgm:cxn modelId="{1CD653F0-2621-FE4B-925B-CD80A5F3DF6F}" type="presParOf" srcId="{DA7B3519-36DB-CB42-AC1E-A1C45C7386E3}" destId="{4C224D8C-3AEF-2446-987B-BA5D52847100}" srcOrd="0" destOrd="0" presId="urn:microsoft.com/office/officeart/2005/8/layout/radial2"/>
    <dgm:cxn modelId="{9A287408-C4B6-3E45-A865-A3E0F3B65F8C}" type="presParOf" srcId="{DA7B3519-36DB-CB42-AC1E-A1C45C7386E3}" destId="{77F8FBF1-4AFC-D848-A162-A8547E86E0BD}" srcOrd="1" destOrd="0" presId="urn:microsoft.com/office/officeart/2005/8/layout/radial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D13633C-B73C-49D3-8E2E-6BEBD536F7C9}" type="doc">
      <dgm:prSet loTypeId="urn:microsoft.com/office/officeart/2005/8/layout/hProcess9" loCatId="process" qsTypeId="urn:microsoft.com/office/officeart/2005/8/quickstyle/simple1" qsCatId="simple" csTypeId="urn:microsoft.com/office/officeart/2005/8/colors/colorful4" csCatId="colorful" phldr="1"/>
      <dgm:spPr/>
    </dgm:pt>
    <dgm:pt modelId="{77D18FFA-89C4-4B9E-A87B-0B1914DC0468}">
      <dgm:prSet phldrT="[Text]" custT="1"/>
      <dgm:spPr/>
      <dgm:t>
        <a:bodyPr/>
        <a:lstStyle/>
        <a:p>
          <a:r>
            <a:rPr lang="en-US" sz="2400" dirty="0">
              <a:latin typeface="Cambria" panose="02040503050406030204" pitchFamily="18" charset="0"/>
            </a:rPr>
            <a:t>2013</a:t>
          </a:r>
        </a:p>
        <a:p>
          <a:r>
            <a:rPr lang="en-US" sz="2400" dirty="0">
              <a:latin typeface="Cambria" panose="02040503050406030204" pitchFamily="18" charset="0"/>
            </a:rPr>
            <a:t>ImTeCHO</a:t>
          </a:r>
        </a:p>
      </dgm:t>
    </dgm:pt>
    <dgm:pt modelId="{5B9E538B-1368-48E2-BE9A-3AF444FE4C11}" type="parTrans" cxnId="{1AC65592-FF28-4878-8062-5C42E103B909}">
      <dgm:prSet/>
      <dgm:spPr/>
      <dgm:t>
        <a:bodyPr/>
        <a:lstStyle/>
        <a:p>
          <a:endParaRPr lang="en-US" sz="2400">
            <a:latin typeface="Cambria" panose="02040503050406030204" pitchFamily="18" charset="0"/>
          </a:endParaRPr>
        </a:p>
      </dgm:t>
    </dgm:pt>
    <dgm:pt modelId="{E0671C8D-8395-4C82-89C7-782B34B889F8}" type="sibTrans" cxnId="{1AC65592-FF28-4878-8062-5C42E103B909}">
      <dgm:prSet/>
      <dgm:spPr/>
      <dgm:t>
        <a:bodyPr/>
        <a:lstStyle/>
        <a:p>
          <a:endParaRPr lang="en-US" sz="2400">
            <a:latin typeface="Cambria" panose="02040503050406030204" pitchFamily="18" charset="0"/>
          </a:endParaRPr>
        </a:p>
      </dgm:t>
    </dgm:pt>
    <dgm:pt modelId="{B5920D8C-24FD-4A6E-9B87-BC8896D547BF}">
      <dgm:prSet phldrT="[Text]" custT="1"/>
      <dgm:spPr/>
      <dgm:t>
        <a:bodyPr/>
        <a:lstStyle/>
        <a:p>
          <a:r>
            <a:rPr lang="en-US" sz="2400" dirty="0">
              <a:latin typeface="Cambria" panose="02040503050406030204" pitchFamily="18" charset="0"/>
            </a:rPr>
            <a:t>October 2017</a:t>
          </a:r>
        </a:p>
        <a:p>
          <a:r>
            <a:rPr lang="en-US" sz="2400" dirty="0">
              <a:latin typeface="Cambria" panose="02040503050406030204" pitchFamily="18" charset="0"/>
            </a:rPr>
            <a:t>TeCHO+</a:t>
          </a:r>
        </a:p>
      </dgm:t>
    </dgm:pt>
    <dgm:pt modelId="{D546E164-0102-4013-BD6D-E12E6B83BD79}" type="parTrans" cxnId="{0E148CC8-3D67-4BEF-B945-8D6DACCFE5D4}">
      <dgm:prSet/>
      <dgm:spPr/>
      <dgm:t>
        <a:bodyPr/>
        <a:lstStyle/>
        <a:p>
          <a:endParaRPr lang="en-US" sz="2400">
            <a:latin typeface="Cambria" panose="02040503050406030204" pitchFamily="18" charset="0"/>
          </a:endParaRPr>
        </a:p>
      </dgm:t>
    </dgm:pt>
    <dgm:pt modelId="{FB82B3EE-FE72-46C5-B507-D85EB3A62B0D}" type="sibTrans" cxnId="{0E148CC8-3D67-4BEF-B945-8D6DACCFE5D4}">
      <dgm:prSet/>
      <dgm:spPr/>
      <dgm:t>
        <a:bodyPr/>
        <a:lstStyle/>
        <a:p>
          <a:endParaRPr lang="en-US" sz="2400">
            <a:latin typeface="Cambria" panose="02040503050406030204" pitchFamily="18" charset="0"/>
          </a:endParaRPr>
        </a:p>
      </dgm:t>
    </dgm:pt>
    <dgm:pt modelId="{5853FFE8-1E82-4A07-94EA-E5F965A6AD81}">
      <dgm:prSet phldrT="[Text]" custT="1"/>
      <dgm:spPr/>
      <dgm:t>
        <a:bodyPr/>
        <a:lstStyle/>
        <a:p>
          <a:r>
            <a:rPr lang="en-US" sz="2400" dirty="0">
              <a:latin typeface="Cambria" panose="02040503050406030204" pitchFamily="18" charset="0"/>
            </a:rPr>
            <a:t>Apr 2019</a:t>
          </a:r>
        </a:p>
        <a:p>
          <a:r>
            <a:rPr lang="en-US" sz="2400" dirty="0">
              <a:latin typeface="Cambria" panose="02040503050406030204" pitchFamily="18" charset="0"/>
            </a:rPr>
            <a:t>State of Health</a:t>
          </a:r>
        </a:p>
      </dgm:t>
    </dgm:pt>
    <dgm:pt modelId="{1EA5347E-735B-49D9-90C3-7A87060CE085}" type="parTrans" cxnId="{F72BABC8-9FBA-444D-AFA2-7447E65B4820}">
      <dgm:prSet/>
      <dgm:spPr/>
      <dgm:t>
        <a:bodyPr/>
        <a:lstStyle/>
        <a:p>
          <a:endParaRPr lang="en-US" sz="2400">
            <a:latin typeface="Cambria" panose="02040503050406030204" pitchFamily="18" charset="0"/>
          </a:endParaRPr>
        </a:p>
      </dgm:t>
    </dgm:pt>
    <dgm:pt modelId="{B725C65C-AD2B-42B0-8367-912E30AA4C5F}" type="sibTrans" cxnId="{F72BABC8-9FBA-444D-AFA2-7447E65B4820}">
      <dgm:prSet/>
      <dgm:spPr/>
      <dgm:t>
        <a:bodyPr/>
        <a:lstStyle/>
        <a:p>
          <a:endParaRPr lang="en-US" sz="2400">
            <a:latin typeface="Cambria" panose="02040503050406030204" pitchFamily="18" charset="0"/>
          </a:endParaRPr>
        </a:p>
      </dgm:t>
    </dgm:pt>
    <dgm:pt modelId="{AB23BCC5-8436-4B4E-A525-11614C47E292}">
      <dgm:prSet custT="1"/>
      <dgm:spPr/>
      <dgm:t>
        <a:bodyPr/>
        <a:lstStyle/>
        <a:p>
          <a:r>
            <a:rPr lang="en-US" sz="2400" dirty="0">
              <a:latin typeface="Cambria" panose="02040503050406030204" pitchFamily="18" charset="0"/>
            </a:rPr>
            <a:t>Nov 2019</a:t>
          </a:r>
        </a:p>
        <a:p>
          <a:r>
            <a:rPr lang="en-US" sz="2400" dirty="0">
              <a:latin typeface="Cambria" panose="02040503050406030204" pitchFamily="18" charset="0"/>
            </a:rPr>
            <a:t>My TeCHO</a:t>
          </a:r>
        </a:p>
      </dgm:t>
    </dgm:pt>
    <dgm:pt modelId="{7E5BF470-5F33-4CF0-ADDE-439D900453B2}" type="parTrans" cxnId="{57F26A46-FC9F-41A4-BD55-E20A12F37580}">
      <dgm:prSet/>
      <dgm:spPr/>
      <dgm:t>
        <a:bodyPr/>
        <a:lstStyle/>
        <a:p>
          <a:endParaRPr lang="en-US" sz="2400">
            <a:latin typeface="Cambria" panose="02040503050406030204" pitchFamily="18" charset="0"/>
          </a:endParaRPr>
        </a:p>
      </dgm:t>
    </dgm:pt>
    <dgm:pt modelId="{B855D67C-E4F7-41F0-B97B-EC292EC2F66F}" type="sibTrans" cxnId="{57F26A46-FC9F-41A4-BD55-E20A12F37580}">
      <dgm:prSet/>
      <dgm:spPr/>
      <dgm:t>
        <a:bodyPr/>
        <a:lstStyle/>
        <a:p>
          <a:endParaRPr lang="en-US" sz="2400">
            <a:latin typeface="Cambria" panose="02040503050406030204" pitchFamily="18" charset="0"/>
          </a:endParaRPr>
        </a:p>
      </dgm:t>
    </dgm:pt>
    <dgm:pt modelId="{8A901E49-A09F-4CBF-91F1-2F000983F87D}">
      <dgm:prSet custT="1"/>
      <dgm:spPr/>
      <dgm:t>
        <a:bodyPr/>
        <a:lstStyle/>
        <a:p>
          <a:r>
            <a:rPr lang="en-US" sz="2400" dirty="0">
              <a:latin typeface="Cambria" panose="02040503050406030204" pitchFamily="18" charset="0"/>
            </a:rPr>
            <a:t>Coming Soon…</a:t>
          </a:r>
        </a:p>
        <a:p>
          <a:r>
            <a:rPr lang="en-US" sz="2400" dirty="0">
              <a:latin typeface="Cambria" panose="02040503050406030204" pitchFamily="18" charset="0"/>
            </a:rPr>
            <a:t>Dr. TeCHO</a:t>
          </a:r>
        </a:p>
      </dgm:t>
    </dgm:pt>
    <dgm:pt modelId="{564E978A-5934-4033-AE8D-60F829D9E058}" type="parTrans" cxnId="{A02F6322-5A5B-4556-BC0C-AC3DADF670EE}">
      <dgm:prSet/>
      <dgm:spPr/>
      <dgm:t>
        <a:bodyPr/>
        <a:lstStyle/>
        <a:p>
          <a:endParaRPr lang="en-US" sz="2400">
            <a:latin typeface="Cambria" panose="02040503050406030204" pitchFamily="18" charset="0"/>
          </a:endParaRPr>
        </a:p>
      </dgm:t>
    </dgm:pt>
    <dgm:pt modelId="{A8321AFD-F132-47F1-AEB9-DD43F6707940}" type="sibTrans" cxnId="{A02F6322-5A5B-4556-BC0C-AC3DADF670EE}">
      <dgm:prSet/>
      <dgm:spPr/>
      <dgm:t>
        <a:bodyPr/>
        <a:lstStyle/>
        <a:p>
          <a:endParaRPr lang="en-US" sz="2400">
            <a:latin typeface="Cambria" panose="02040503050406030204" pitchFamily="18" charset="0"/>
          </a:endParaRPr>
        </a:p>
      </dgm:t>
    </dgm:pt>
    <dgm:pt modelId="{37EA2B52-39D8-4B04-9CFA-079BB148528F}">
      <dgm:prSet custT="1"/>
      <dgm:spPr/>
      <dgm:t>
        <a:bodyPr/>
        <a:lstStyle/>
        <a:p>
          <a:r>
            <a:rPr lang="en-US" sz="2400" dirty="0">
              <a:latin typeface="Cambria" panose="02040503050406030204" pitchFamily="18" charset="0"/>
            </a:rPr>
            <a:t>2009</a:t>
          </a:r>
        </a:p>
        <a:p>
          <a:r>
            <a:rPr lang="en-US" sz="2400" dirty="0">
              <a:latin typeface="Cambria" panose="02040503050406030204" pitchFamily="18" charset="0"/>
            </a:rPr>
            <a:t>Janani Program</a:t>
          </a:r>
        </a:p>
      </dgm:t>
    </dgm:pt>
    <dgm:pt modelId="{84A9258A-13A6-429D-B87C-7FB8FED54E0B}" type="parTrans" cxnId="{9107565E-D34E-4B92-B1E1-9865C21227A8}">
      <dgm:prSet/>
      <dgm:spPr/>
      <dgm:t>
        <a:bodyPr/>
        <a:lstStyle/>
        <a:p>
          <a:endParaRPr lang="en-US" sz="2400"/>
        </a:p>
      </dgm:t>
    </dgm:pt>
    <dgm:pt modelId="{3DFE95B2-F60E-4B14-B95E-89D57C10D513}" type="sibTrans" cxnId="{9107565E-D34E-4B92-B1E1-9865C21227A8}">
      <dgm:prSet/>
      <dgm:spPr/>
      <dgm:t>
        <a:bodyPr/>
        <a:lstStyle/>
        <a:p>
          <a:endParaRPr lang="en-US" sz="2400"/>
        </a:p>
      </dgm:t>
    </dgm:pt>
    <dgm:pt modelId="{C1DCD6E2-2B96-41AA-8598-F0996646DA8F}" type="pres">
      <dgm:prSet presAssocID="{DD13633C-B73C-49D3-8E2E-6BEBD536F7C9}" presName="CompostProcess" presStyleCnt="0">
        <dgm:presLayoutVars>
          <dgm:dir/>
          <dgm:resizeHandles val="exact"/>
        </dgm:presLayoutVars>
      </dgm:prSet>
      <dgm:spPr/>
    </dgm:pt>
    <dgm:pt modelId="{4EFDBE86-6788-42BB-A8A3-45ABA679B34E}" type="pres">
      <dgm:prSet presAssocID="{DD13633C-B73C-49D3-8E2E-6BEBD536F7C9}" presName="arrow" presStyleLbl="bgShp" presStyleIdx="0" presStyleCnt="1"/>
      <dgm:spPr/>
    </dgm:pt>
    <dgm:pt modelId="{5995687C-0FB0-44CC-ABA0-BFC4AB83DC55}" type="pres">
      <dgm:prSet presAssocID="{DD13633C-B73C-49D3-8E2E-6BEBD536F7C9}" presName="linearProcess" presStyleCnt="0"/>
      <dgm:spPr/>
    </dgm:pt>
    <dgm:pt modelId="{EF6905AA-B44B-473C-9FF0-48E1C50CA6CB}" type="pres">
      <dgm:prSet presAssocID="{37EA2B52-39D8-4B04-9CFA-079BB148528F}" presName="textNode" presStyleLbl="node1" presStyleIdx="0" presStyleCnt="6">
        <dgm:presLayoutVars>
          <dgm:bulletEnabled val="1"/>
        </dgm:presLayoutVars>
      </dgm:prSet>
      <dgm:spPr/>
    </dgm:pt>
    <dgm:pt modelId="{B7445C98-3057-46C0-9020-3E0D28927A8C}" type="pres">
      <dgm:prSet presAssocID="{3DFE95B2-F60E-4B14-B95E-89D57C10D513}" presName="sibTrans" presStyleCnt="0"/>
      <dgm:spPr/>
    </dgm:pt>
    <dgm:pt modelId="{593A1CAA-B3A4-4818-9B66-C96C4F01E90E}" type="pres">
      <dgm:prSet presAssocID="{77D18FFA-89C4-4B9E-A87B-0B1914DC0468}" presName="textNode" presStyleLbl="node1" presStyleIdx="1" presStyleCnt="6">
        <dgm:presLayoutVars>
          <dgm:bulletEnabled val="1"/>
        </dgm:presLayoutVars>
      </dgm:prSet>
      <dgm:spPr/>
    </dgm:pt>
    <dgm:pt modelId="{FAD0C054-2655-40C8-82EF-13172C1B4B95}" type="pres">
      <dgm:prSet presAssocID="{E0671C8D-8395-4C82-89C7-782B34B889F8}" presName="sibTrans" presStyleCnt="0"/>
      <dgm:spPr/>
    </dgm:pt>
    <dgm:pt modelId="{8DDBE84A-52A5-4628-9E00-6D449EA68700}" type="pres">
      <dgm:prSet presAssocID="{B5920D8C-24FD-4A6E-9B87-BC8896D547BF}" presName="textNode" presStyleLbl="node1" presStyleIdx="2" presStyleCnt="6">
        <dgm:presLayoutVars>
          <dgm:bulletEnabled val="1"/>
        </dgm:presLayoutVars>
      </dgm:prSet>
      <dgm:spPr/>
    </dgm:pt>
    <dgm:pt modelId="{06A52314-AD25-4DFD-8060-AD3A312749AB}" type="pres">
      <dgm:prSet presAssocID="{FB82B3EE-FE72-46C5-B507-D85EB3A62B0D}" presName="sibTrans" presStyleCnt="0"/>
      <dgm:spPr/>
    </dgm:pt>
    <dgm:pt modelId="{71B428AD-726D-4B6C-B70E-090DD79E174A}" type="pres">
      <dgm:prSet presAssocID="{5853FFE8-1E82-4A07-94EA-E5F965A6AD81}" presName="textNode" presStyleLbl="node1" presStyleIdx="3" presStyleCnt="6">
        <dgm:presLayoutVars>
          <dgm:bulletEnabled val="1"/>
        </dgm:presLayoutVars>
      </dgm:prSet>
      <dgm:spPr/>
    </dgm:pt>
    <dgm:pt modelId="{727462C4-D9BE-465C-84F1-8E4C7926828F}" type="pres">
      <dgm:prSet presAssocID="{B725C65C-AD2B-42B0-8367-912E30AA4C5F}" presName="sibTrans" presStyleCnt="0"/>
      <dgm:spPr/>
    </dgm:pt>
    <dgm:pt modelId="{7CB22605-0EE1-4458-9E47-43227C4046C2}" type="pres">
      <dgm:prSet presAssocID="{AB23BCC5-8436-4B4E-A525-11614C47E292}" presName="textNode" presStyleLbl="node1" presStyleIdx="4" presStyleCnt="6">
        <dgm:presLayoutVars>
          <dgm:bulletEnabled val="1"/>
        </dgm:presLayoutVars>
      </dgm:prSet>
      <dgm:spPr/>
    </dgm:pt>
    <dgm:pt modelId="{A84E42E7-890B-4AA5-A40D-C84BC2236EA3}" type="pres">
      <dgm:prSet presAssocID="{B855D67C-E4F7-41F0-B97B-EC292EC2F66F}" presName="sibTrans" presStyleCnt="0"/>
      <dgm:spPr/>
    </dgm:pt>
    <dgm:pt modelId="{F2BC0286-1DAC-4C17-AB8A-E273EC4ADAF0}" type="pres">
      <dgm:prSet presAssocID="{8A901E49-A09F-4CBF-91F1-2F000983F87D}" presName="textNode" presStyleLbl="node1" presStyleIdx="5" presStyleCnt="6">
        <dgm:presLayoutVars>
          <dgm:bulletEnabled val="1"/>
        </dgm:presLayoutVars>
      </dgm:prSet>
      <dgm:spPr/>
    </dgm:pt>
  </dgm:ptLst>
  <dgm:cxnLst>
    <dgm:cxn modelId="{AC14621C-D365-42B7-B0A1-0F039A328AD6}" type="presOf" srcId="{AB23BCC5-8436-4B4E-A525-11614C47E292}" destId="{7CB22605-0EE1-4458-9E47-43227C4046C2}" srcOrd="0" destOrd="0" presId="urn:microsoft.com/office/officeart/2005/8/layout/hProcess9"/>
    <dgm:cxn modelId="{A02F6322-5A5B-4556-BC0C-AC3DADF670EE}" srcId="{DD13633C-B73C-49D3-8E2E-6BEBD536F7C9}" destId="{8A901E49-A09F-4CBF-91F1-2F000983F87D}" srcOrd="5" destOrd="0" parTransId="{564E978A-5934-4033-AE8D-60F829D9E058}" sibTransId="{A8321AFD-F132-47F1-AEB9-DD43F6707940}"/>
    <dgm:cxn modelId="{57F26A46-FC9F-41A4-BD55-E20A12F37580}" srcId="{DD13633C-B73C-49D3-8E2E-6BEBD536F7C9}" destId="{AB23BCC5-8436-4B4E-A525-11614C47E292}" srcOrd="4" destOrd="0" parTransId="{7E5BF470-5F33-4CF0-ADDE-439D900453B2}" sibTransId="{B855D67C-E4F7-41F0-B97B-EC292EC2F66F}"/>
    <dgm:cxn modelId="{9107565E-D34E-4B92-B1E1-9865C21227A8}" srcId="{DD13633C-B73C-49D3-8E2E-6BEBD536F7C9}" destId="{37EA2B52-39D8-4B04-9CFA-079BB148528F}" srcOrd="0" destOrd="0" parTransId="{84A9258A-13A6-429D-B87C-7FB8FED54E0B}" sibTransId="{3DFE95B2-F60E-4B14-B95E-89D57C10D513}"/>
    <dgm:cxn modelId="{F05A9464-7024-4083-874E-3BC32AE87810}" type="presOf" srcId="{B5920D8C-24FD-4A6E-9B87-BC8896D547BF}" destId="{8DDBE84A-52A5-4628-9E00-6D449EA68700}" srcOrd="0" destOrd="0" presId="urn:microsoft.com/office/officeart/2005/8/layout/hProcess9"/>
    <dgm:cxn modelId="{C56B8176-B263-4F97-8C12-11503830BE1E}" type="presOf" srcId="{8A901E49-A09F-4CBF-91F1-2F000983F87D}" destId="{F2BC0286-1DAC-4C17-AB8A-E273EC4ADAF0}" srcOrd="0" destOrd="0" presId="urn:microsoft.com/office/officeart/2005/8/layout/hProcess9"/>
    <dgm:cxn modelId="{77CEF47A-D859-4B0F-A4D5-F61C3653791C}" type="presOf" srcId="{37EA2B52-39D8-4B04-9CFA-079BB148528F}" destId="{EF6905AA-B44B-473C-9FF0-48E1C50CA6CB}" srcOrd="0" destOrd="0" presId="urn:microsoft.com/office/officeart/2005/8/layout/hProcess9"/>
    <dgm:cxn modelId="{DD9B757F-619D-4DCD-9AEA-6D708252F3D0}" type="presOf" srcId="{DD13633C-B73C-49D3-8E2E-6BEBD536F7C9}" destId="{C1DCD6E2-2B96-41AA-8598-F0996646DA8F}" srcOrd="0" destOrd="0" presId="urn:microsoft.com/office/officeart/2005/8/layout/hProcess9"/>
    <dgm:cxn modelId="{1AC65592-FF28-4878-8062-5C42E103B909}" srcId="{DD13633C-B73C-49D3-8E2E-6BEBD536F7C9}" destId="{77D18FFA-89C4-4B9E-A87B-0B1914DC0468}" srcOrd="1" destOrd="0" parTransId="{5B9E538B-1368-48E2-BE9A-3AF444FE4C11}" sibTransId="{E0671C8D-8395-4C82-89C7-782B34B889F8}"/>
    <dgm:cxn modelId="{1FD895A5-584E-4A8F-8F80-E5B22882E184}" type="presOf" srcId="{77D18FFA-89C4-4B9E-A87B-0B1914DC0468}" destId="{593A1CAA-B3A4-4818-9B66-C96C4F01E90E}" srcOrd="0" destOrd="0" presId="urn:microsoft.com/office/officeart/2005/8/layout/hProcess9"/>
    <dgm:cxn modelId="{3169E6B3-5394-47FD-ADB6-B0CCB03F2CD4}" type="presOf" srcId="{5853FFE8-1E82-4A07-94EA-E5F965A6AD81}" destId="{71B428AD-726D-4B6C-B70E-090DD79E174A}" srcOrd="0" destOrd="0" presId="urn:microsoft.com/office/officeart/2005/8/layout/hProcess9"/>
    <dgm:cxn modelId="{0E148CC8-3D67-4BEF-B945-8D6DACCFE5D4}" srcId="{DD13633C-B73C-49D3-8E2E-6BEBD536F7C9}" destId="{B5920D8C-24FD-4A6E-9B87-BC8896D547BF}" srcOrd="2" destOrd="0" parTransId="{D546E164-0102-4013-BD6D-E12E6B83BD79}" sibTransId="{FB82B3EE-FE72-46C5-B507-D85EB3A62B0D}"/>
    <dgm:cxn modelId="{F72BABC8-9FBA-444D-AFA2-7447E65B4820}" srcId="{DD13633C-B73C-49D3-8E2E-6BEBD536F7C9}" destId="{5853FFE8-1E82-4A07-94EA-E5F965A6AD81}" srcOrd="3" destOrd="0" parTransId="{1EA5347E-735B-49D9-90C3-7A87060CE085}" sibTransId="{B725C65C-AD2B-42B0-8367-912E30AA4C5F}"/>
    <dgm:cxn modelId="{4E6A36AA-C787-4BD2-8B1E-703B9B0C8BB7}" type="presParOf" srcId="{C1DCD6E2-2B96-41AA-8598-F0996646DA8F}" destId="{4EFDBE86-6788-42BB-A8A3-45ABA679B34E}" srcOrd="0" destOrd="0" presId="urn:microsoft.com/office/officeart/2005/8/layout/hProcess9"/>
    <dgm:cxn modelId="{E3254D5E-6BF2-4531-ACC3-C5A3DD0662E9}" type="presParOf" srcId="{C1DCD6E2-2B96-41AA-8598-F0996646DA8F}" destId="{5995687C-0FB0-44CC-ABA0-BFC4AB83DC55}" srcOrd="1" destOrd="0" presId="urn:microsoft.com/office/officeart/2005/8/layout/hProcess9"/>
    <dgm:cxn modelId="{D5AF81A6-38B6-4860-95D1-AFF0154D4BB1}" type="presParOf" srcId="{5995687C-0FB0-44CC-ABA0-BFC4AB83DC55}" destId="{EF6905AA-B44B-473C-9FF0-48E1C50CA6CB}" srcOrd="0" destOrd="0" presId="urn:microsoft.com/office/officeart/2005/8/layout/hProcess9"/>
    <dgm:cxn modelId="{AD4C3A59-A099-4E2A-9254-36F01B8A9F8E}" type="presParOf" srcId="{5995687C-0FB0-44CC-ABA0-BFC4AB83DC55}" destId="{B7445C98-3057-46C0-9020-3E0D28927A8C}" srcOrd="1" destOrd="0" presId="urn:microsoft.com/office/officeart/2005/8/layout/hProcess9"/>
    <dgm:cxn modelId="{56D3D278-811B-498D-9F6F-3D0CB92BC969}" type="presParOf" srcId="{5995687C-0FB0-44CC-ABA0-BFC4AB83DC55}" destId="{593A1CAA-B3A4-4818-9B66-C96C4F01E90E}" srcOrd="2" destOrd="0" presId="urn:microsoft.com/office/officeart/2005/8/layout/hProcess9"/>
    <dgm:cxn modelId="{D723A75C-74DB-4C3E-B954-4B94022FF490}" type="presParOf" srcId="{5995687C-0FB0-44CC-ABA0-BFC4AB83DC55}" destId="{FAD0C054-2655-40C8-82EF-13172C1B4B95}" srcOrd="3" destOrd="0" presId="urn:microsoft.com/office/officeart/2005/8/layout/hProcess9"/>
    <dgm:cxn modelId="{FA02841E-6518-4FC5-A1E0-8BEECF0C4246}" type="presParOf" srcId="{5995687C-0FB0-44CC-ABA0-BFC4AB83DC55}" destId="{8DDBE84A-52A5-4628-9E00-6D449EA68700}" srcOrd="4" destOrd="0" presId="urn:microsoft.com/office/officeart/2005/8/layout/hProcess9"/>
    <dgm:cxn modelId="{2761246A-726A-4E90-8D7A-521D029C374E}" type="presParOf" srcId="{5995687C-0FB0-44CC-ABA0-BFC4AB83DC55}" destId="{06A52314-AD25-4DFD-8060-AD3A312749AB}" srcOrd="5" destOrd="0" presId="urn:microsoft.com/office/officeart/2005/8/layout/hProcess9"/>
    <dgm:cxn modelId="{7E5ED072-47AD-4A8C-A67D-938DAE1FB680}" type="presParOf" srcId="{5995687C-0FB0-44CC-ABA0-BFC4AB83DC55}" destId="{71B428AD-726D-4B6C-B70E-090DD79E174A}" srcOrd="6" destOrd="0" presId="urn:microsoft.com/office/officeart/2005/8/layout/hProcess9"/>
    <dgm:cxn modelId="{2CD3F3C7-4BA6-43DE-A0CD-CA692829846A}" type="presParOf" srcId="{5995687C-0FB0-44CC-ABA0-BFC4AB83DC55}" destId="{727462C4-D9BE-465C-84F1-8E4C7926828F}" srcOrd="7" destOrd="0" presId="urn:microsoft.com/office/officeart/2005/8/layout/hProcess9"/>
    <dgm:cxn modelId="{2BDBCCDB-F837-49F8-81E5-96173539C295}" type="presParOf" srcId="{5995687C-0FB0-44CC-ABA0-BFC4AB83DC55}" destId="{7CB22605-0EE1-4458-9E47-43227C4046C2}" srcOrd="8" destOrd="0" presId="urn:microsoft.com/office/officeart/2005/8/layout/hProcess9"/>
    <dgm:cxn modelId="{BCD564EE-0C17-4D1D-B4B3-68F7552D34E6}" type="presParOf" srcId="{5995687C-0FB0-44CC-ABA0-BFC4AB83DC55}" destId="{A84E42E7-890B-4AA5-A40D-C84BC2236EA3}" srcOrd="9" destOrd="0" presId="urn:microsoft.com/office/officeart/2005/8/layout/hProcess9"/>
    <dgm:cxn modelId="{200FB84B-6FBE-477D-9DED-8343374B101D}" type="presParOf" srcId="{5995687C-0FB0-44CC-ABA0-BFC4AB83DC55}" destId="{F2BC0286-1DAC-4C17-AB8A-E273EC4ADAF0}" srcOrd="1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DA189EE-7784-D542-B753-88EA0AD6BB62}" type="doc">
      <dgm:prSet loTypeId="urn:microsoft.com/office/officeart/2009/3/layout/StepUpProcess" loCatId="" qsTypeId="urn:microsoft.com/office/officeart/2005/8/quickstyle/simple1" qsCatId="simple" csTypeId="urn:microsoft.com/office/officeart/2005/8/colors/accent1_2" csCatId="accent1" phldr="1"/>
      <dgm:spPr/>
      <dgm:t>
        <a:bodyPr/>
        <a:lstStyle/>
        <a:p>
          <a:endParaRPr lang="en-US"/>
        </a:p>
      </dgm:t>
    </dgm:pt>
    <dgm:pt modelId="{A3C399E3-63E7-B24C-B3B6-9370ECFB86F7}">
      <dgm:prSet phldrT="[Text]" custT="1"/>
      <dgm:spPr/>
      <dgm:t>
        <a:bodyPr/>
        <a:lstStyle/>
        <a:p>
          <a:r>
            <a:rPr lang="en-US" sz="2400" dirty="0"/>
            <a:t>E-</a:t>
          </a:r>
          <a:r>
            <a:rPr lang="en-US" sz="2400" dirty="0" err="1"/>
            <a:t>Mamta</a:t>
          </a:r>
          <a:endParaRPr lang="en-US" sz="2400" dirty="0"/>
        </a:p>
      </dgm:t>
    </dgm:pt>
    <dgm:pt modelId="{04A1A8B4-2D02-0E4C-ABDE-3E7EA1CDA193}" type="parTrans" cxnId="{B965DDB6-3CE6-1040-AE75-18EDC7E4F0FC}">
      <dgm:prSet/>
      <dgm:spPr/>
      <dgm:t>
        <a:bodyPr/>
        <a:lstStyle/>
        <a:p>
          <a:endParaRPr lang="en-US"/>
        </a:p>
      </dgm:t>
    </dgm:pt>
    <dgm:pt modelId="{AAE611F6-498E-2C44-A5E1-22014280F709}" type="sibTrans" cxnId="{B965DDB6-3CE6-1040-AE75-18EDC7E4F0FC}">
      <dgm:prSet/>
      <dgm:spPr/>
      <dgm:t>
        <a:bodyPr/>
        <a:lstStyle/>
        <a:p>
          <a:endParaRPr lang="en-US"/>
        </a:p>
      </dgm:t>
    </dgm:pt>
    <dgm:pt modelId="{AECD5169-F9EC-8340-8305-148532CDC0F7}">
      <dgm:prSet phldrT="[Text]" custT="1"/>
      <dgm:spPr/>
      <dgm:t>
        <a:bodyPr/>
        <a:lstStyle/>
        <a:p>
          <a:r>
            <a:rPr lang="en-US" sz="2000" dirty="0"/>
            <a:t>IM TECHO</a:t>
          </a:r>
        </a:p>
      </dgm:t>
    </dgm:pt>
    <dgm:pt modelId="{D399E019-0203-9043-8C07-9FEB14AFF841}" type="parTrans" cxnId="{2DF5C731-327F-7B42-A616-AD53D5EB7C9A}">
      <dgm:prSet/>
      <dgm:spPr/>
      <dgm:t>
        <a:bodyPr/>
        <a:lstStyle/>
        <a:p>
          <a:endParaRPr lang="en-US"/>
        </a:p>
      </dgm:t>
    </dgm:pt>
    <dgm:pt modelId="{8FF8D283-384A-D648-B3B5-044D13339942}" type="sibTrans" cxnId="{2DF5C731-327F-7B42-A616-AD53D5EB7C9A}">
      <dgm:prSet/>
      <dgm:spPr/>
      <dgm:t>
        <a:bodyPr/>
        <a:lstStyle/>
        <a:p>
          <a:endParaRPr lang="en-US"/>
        </a:p>
      </dgm:t>
    </dgm:pt>
    <dgm:pt modelId="{84FEE9A3-70C0-8548-90BC-5E6C02F2E8E0}">
      <dgm:prSet phldrT="[Text]"/>
      <dgm:spPr/>
      <dgm:t>
        <a:bodyPr/>
        <a:lstStyle/>
        <a:p>
          <a:r>
            <a:rPr lang="en-US" dirty="0" err="1"/>
            <a:t>TeCHO</a:t>
          </a:r>
          <a:endParaRPr lang="en-US" dirty="0"/>
        </a:p>
      </dgm:t>
    </dgm:pt>
    <dgm:pt modelId="{AE50A063-4A14-A84B-911B-86080ABE424C}" type="parTrans" cxnId="{A507BDF4-B46A-F84A-9FBA-01B054927009}">
      <dgm:prSet/>
      <dgm:spPr/>
      <dgm:t>
        <a:bodyPr/>
        <a:lstStyle/>
        <a:p>
          <a:endParaRPr lang="en-US"/>
        </a:p>
      </dgm:t>
    </dgm:pt>
    <dgm:pt modelId="{4FA0BE37-B02B-D040-8111-72D15F1461BD}" type="sibTrans" cxnId="{A507BDF4-B46A-F84A-9FBA-01B054927009}">
      <dgm:prSet/>
      <dgm:spPr/>
      <dgm:t>
        <a:bodyPr/>
        <a:lstStyle/>
        <a:p>
          <a:endParaRPr lang="en-US"/>
        </a:p>
      </dgm:t>
    </dgm:pt>
    <dgm:pt modelId="{63EFAD7F-9E98-0948-9770-63A112D1674A}">
      <dgm:prSet/>
      <dgm:spPr/>
      <dgm:t>
        <a:bodyPr/>
        <a:lstStyle/>
        <a:p>
          <a:r>
            <a:rPr lang="en-US" dirty="0" err="1"/>
            <a:t>TeCHO</a:t>
          </a:r>
          <a:r>
            <a:rPr lang="en-US" dirty="0"/>
            <a:t>+</a:t>
          </a:r>
        </a:p>
      </dgm:t>
    </dgm:pt>
    <dgm:pt modelId="{A07B2121-B2CE-B94D-B8AA-8FE02720B5F2}" type="parTrans" cxnId="{2D34371F-C501-7947-8395-93A18AF84589}">
      <dgm:prSet/>
      <dgm:spPr/>
      <dgm:t>
        <a:bodyPr/>
        <a:lstStyle/>
        <a:p>
          <a:endParaRPr lang="en-US"/>
        </a:p>
      </dgm:t>
    </dgm:pt>
    <dgm:pt modelId="{75D99720-4D99-2C41-AA06-8464C3B9A4F7}" type="sibTrans" cxnId="{2D34371F-C501-7947-8395-93A18AF84589}">
      <dgm:prSet/>
      <dgm:spPr/>
      <dgm:t>
        <a:bodyPr/>
        <a:lstStyle/>
        <a:p>
          <a:endParaRPr lang="en-US"/>
        </a:p>
      </dgm:t>
    </dgm:pt>
    <dgm:pt modelId="{9440D8E9-710A-284F-8263-5A8EB43E7FD4}" type="pres">
      <dgm:prSet presAssocID="{EDA189EE-7784-D542-B753-88EA0AD6BB62}" presName="rootnode" presStyleCnt="0">
        <dgm:presLayoutVars>
          <dgm:chMax/>
          <dgm:chPref/>
          <dgm:dir/>
          <dgm:animLvl val="lvl"/>
        </dgm:presLayoutVars>
      </dgm:prSet>
      <dgm:spPr/>
    </dgm:pt>
    <dgm:pt modelId="{D1F93CB2-1874-1F42-93B0-87BC9C18D3D6}" type="pres">
      <dgm:prSet presAssocID="{A3C399E3-63E7-B24C-B3B6-9370ECFB86F7}" presName="composite" presStyleCnt="0"/>
      <dgm:spPr/>
    </dgm:pt>
    <dgm:pt modelId="{488CCB56-2F93-734E-AFB2-8B85D1011758}" type="pres">
      <dgm:prSet presAssocID="{A3C399E3-63E7-B24C-B3B6-9370ECFB86F7}" presName="LShape" presStyleLbl="alignNode1" presStyleIdx="0" presStyleCnt="7"/>
      <dgm:spPr/>
    </dgm:pt>
    <dgm:pt modelId="{63840444-51BC-434C-AA76-1440172CBB4C}" type="pres">
      <dgm:prSet presAssocID="{A3C399E3-63E7-B24C-B3B6-9370ECFB86F7}" presName="ParentText" presStyleLbl="revTx" presStyleIdx="0" presStyleCnt="4">
        <dgm:presLayoutVars>
          <dgm:chMax val="0"/>
          <dgm:chPref val="0"/>
          <dgm:bulletEnabled val="1"/>
        </dgm:presLayoutVars>
      </dgm:prSet>
      <dgm:spPr/>
    </dgm:pt>
    <dgm:pt modelId="{AA91A3B7-DBA7-2245-A483-52E727678875}" type="pres">
      <dgm:prSet presAssocID="{A3C399E3-63E7-B24C-B3B6-9370ECFB86F7}" presName="Triangle" presStyleLbl="alignNode1" presStyleIdx="1" presStyleCnt="7"/>
      <dgm:spPr/>
    </dgm:pt>
    <dgm:pt modelId="{62B69C78-D6F1-6948-8F55-B20ADC07A606}" type="pres">
      <dgm:prSet presAssocID="{AAE611F6-498E-2C44-A5E1-22014280F709}" presName="sibTrans" presStyleCnt="0"/>
      <dgm:spPr/>
    </dgm:pt>
    <dgm:pt modelId="{52BFD1E2-49D6-FF42-9CC7-0F3D5B19FA74}" type="pres">
      <dgm:prSet presAssocID="{AAE611F6-498E-2C44-A5E1-22014280F709}" presName="space" presStyleCnt="0"/>
      <dgm:spPr/>
    </dgm:pt>
    <dgm:pt modelId="{4CFF444A-BA65-4C49-A51E-FA46E8E354B2}" type="pres">
      <dgm:prSet presAssocID="{AECD5169-F9EC-8340-8305-148532CDC0F7}" presName="composite" presStyleCnt="0"/>
      <dgm:spPr/>
    </dgm:pt>
    <dgm:pt modelId="{3DB48418-9CA8-1148-B675-6D28820A37D2}" type="pres">
      <dgm:prSet presAssocID="{AECD5169-F9EC-8340-8305-148532CDC0F7}" presName="LShape" presStyleLbl="alignNode1" presStyleIdx="2" presStyleCnt="7"/>
      <dgm:spPr/>
    </dgm:pt>
    <dgm:pt modelId="{592E5A36-E87A-3740-B0BA-6A7EE98C7E46}" type="pres">
      <dgm:prSet presAssocID="{AECD5169-F9EC-8340-8305-148532CDC0F7}" presName="ParentText" presStyleLbl="revTx" presStyleIdx="1" presStyleCnt="4">
        <dgm:presLayoutVars>
          <dgm:chMax val="0"/>
          <dgm:chPref val="0"/>
          <dgm:bulletEnabled val="1"/>
        </dgm:presLayoutVars>
      </dgm:prSet>
      <dgm:spPr/>
    </dgm:pt>
    <dgm:pt modelId="{0D24ABF3-9F18-404B-A01F-0FC8535DE171}" type="pres">
      <dgm:prSet presAssocID="{AECD5169-F9EC-8340-8305-148532CDC0F7}" presName="Triangle" presStyleLbl="alignNode1" presStyleIdx="3" presStyleCnt="7"/>
      <dgm:spPr/>
    </dgm:pt>
    <dgm:pt modelId="{1E94EBDC-FD43-DB40-BC9A-421388AD4EE4}" type="pres">
      <dgm:prSet presAssocID="{8FF8D283-384A-D648-B3B5-044D13339942}" presName="sibTrans" presStyleCnt="0"/>
      <dgm:spPr/>
    </dgm:pt>
    <dgm:pt modelId="{3C76CE7A-A9E4-374C-9239-72EE473F0203}" type="pres">
      <dgm:prSet presAssocID="{8FF8D283-384A-D648-B3B5-044D13339942}" presName="space" presStyleCnt="0"/>
      <dgm:spPr/>
    </dgm:pt>
    <dgm:pt modelId="{C06CC310-B04A-7E49-BB73-973238481B87}" type="pres">
      <dgm:prSet presAssocID="{84FEE9A3-70C0-8548-90BC-5E6C02F2E8E0}" presName="composite" presStyleCnt="0"/>
      <dgm:spPr/>
    </dgm:pt>
    <dgm:pt modelId="{4988B273-EA8E-8B4C-9DB3-C3412561982C}" type="pres">
      <dgm:prSet presAssocID="{84FEE9A3-70C0-8548-90BC-5E6C02F2E8E0}" presName="LShape" presStyleLbl="alignNode1" presStyleIdx="4" presStyleCnt="7"/>
      <dgm:spPr/>
    </dgm:pt>
    <dgm:pt modelId="{265D9F15-1BFC-F94E-9C2E-59FDD96F641F}" type="pres">
      <dgm:prSet presAssocID="{84FEE9A3-70C0-8548-90BC-5E6C02F2E8E0}" presName="ParentText" presStyleLbl="revTx" presStyleIdx="2" presStyleCnt="4">
        <dgm:presLayoutVars>
          <dgm:chMax val="0"/>
          <dgm:chPref val="0"/>
          <dgm:bulletEnabled val="1"/>
        </dgm:presLayoutVars>
      </dgm:prSet>
      <dgm:spPr/>
    </dgm:pt>
    <dgm:pt modelId="{201457A4-A78A-0644-8E0D-5228E7943D92}" type="pres">
      <dgm:prSet presAssocID="{84FEE9A3-70C0-8548-90BC-5E6C02F2E8E0}" presName="Triangle" presStyleLbl="alignNode1" presStyleIdx="5" presStyleCnt="7"/>
      <dgm:spPr/>
    </dgm:pt>
    <dgm:pt modelId="{F7A8E3ED-F85C-D347-9490-D75F1A845DFC}" type="pres">
      <dgm:prSet presAssocID="{4FA0BE37-B02B-D040-8111-72D15F1461BD}" presName="sibTrans" presStyleCnt="0"/>
      <dgm:spPr/>
    </dgm:pt>
    <dgm:pt modelId="{B4D0FEA6-F71B-A449-9F13-177BE1BA3B23}" type="pres">
      <dgm:prSet presAssocID="{4FA0BE37-B02B-D040-8111-72D15F1461BD}" presName="space" presStyleCnt="0"/>
      <dgm:spPr/>
    </dgm:pt>
    <dgm:pt modelId="{F47A3550-12F5-D742-B218-A2AE155EC90B}" type="pres">
      <dgm:prSet presAssocID="{63EFAD7F-9E98-0948-9770-63A112D1674A}" presName="composite" presStyleCnt="0"/>
      <dgm:spPr/>
    </dgm:pt>
    <dgm:pt modelId="{E70CDBE4-EA10-074C-82F9-8A666CD60476}" type="pres">
      <dgm:prSet presAssocID="{63EFAD7F-9E98-0948-9770-63A112D1674A}" presName="LShape" presStyleLbl="alignNode1" presStyleIdx="6" presStyleCnt="7"/>
      <dgm:spPr/>
    </dgm:pt>
    <dgm:pt modelId="{2C2E36AF-927C-EB48-8386-2060F6C3042B}" type="pres">
      <dgm:prSet presAssocID="{63EFAD7F-9E98-0948-9770-63A112D1674A}" presName="ParentText" presStyleLbl="revTx" presStyleIdx="3" presStyleCnt="4">
        <dgm:presLayoutVars>
          <dgm:chMax val="0"/>
          <dgm:chPref val="0"/>
          <dgm:bulletEnabled val="1"/>
        </dgm:presLayoutVars>
      </dgm:prSet>
      <dgm:spPr/>
    </dgm:pt>
  </dgm:ptLst>
  <dgm:cxnLst>
    <dgm:cxn modelId="{2D34371F-C501-7947-8395-93A18AF84589}" srcId="{EDA189EE-7784-D542-B753-88EA0AD6BB62}" destId="{63EFAD7F-9E98-0948-9770-63A112D1674A}" srcOrd="3" destOrd="0" parTransId="{A07B2121-B2CE-B94D-B8AA-8FE02720B5F2}" sibTransId="{75D99720-4D99-2C41-AA06-8464C3B9A4F7}"/>
    <dgm:cxn modelId="{DE5F4521-68CE-4E4C-B9AD-D57D088622BF}" type="presOf" srcId="{AECD5169-F9EC-8340-8305-148532CDC0F7}" destId="{592E5A36-E87A-3740-B0BA-6A7EE98C7E46}" srcOrd="0" destOrd="0" presId="urn:microsoft.com/office/officeart/2009/3/layout/StepUpProcess"/>
    <dgm:cxn modelId="{2DF5C731-327F-7B42-A616-AD53D5EB7C9A}" srcId="{EDA189EE-7784-D542-B753-88EA0AD6BB62}" destId="{AECD5169-F9EC-8340-8305-148532CDC0F7}" srcOrd="1" destOrd="0" parTransId="{D399E019-0203-9043-8C07-9FEB14AFF841}" sibTransId="{8FF8D283-384A-D648-B3B5-044D13339942}"/>
    <dgm:cxn modelId="{9625304B-D307-DE4E-B18E-D3BA22E2ED0C}" type="presOf" srcId="{A3C399E3-63E7-B24C-B3B6-9370ECFB86F7}" destId="{63840444-51BC-434C-AA76-1440172CBB4C}" srcOrd="0" destOrd="0" presId="urn:microsoft.com/office/officeart/2009/3/layout/StepUpProcess"/>
    <dgm:cxn modelId="{2FF7EAA9-6008-9043-9803-B680EF772E2B}" type="presOf" srcId="{63EFAD7F-9E98-0948-9770-63A112D1674A}" destId="{2C2E36AF-927C-EB48-8386-2060F6C3042B}" srcOrd="0" destOrd="0" presId="urn:microsoft.com/office/officeart/2009/3/layout/StepUpProcess"/>
    <dgm:cxn modelId="{454FEBB5-0DA4-3D4C-A343-E23706E1836B}" type="presOf" srcId="{84FEE9A3-70C0-8548-90BC-5E6C02F2E8E0}" destId="{265D9F15-1BFC-F94E-9C2E-59FDD96F641F}" srcOrd="0" destOrd="0" presId="urn:microsoft.com/office/officeart/2009/3/layout/StepUpProcess"/>
    <dgm:cxn modelId="{B965DDB6-3CE6-1040-AE75-18EDC7E4F0FC}" srcId="{EDA189EE-7784-D542-B753-88EA0AD6BB62}" destId="{A3C399E3-63E7-B24C-B3B6-9370ECFB86F7}" srcOrd="0" destOrd="0" parTransId="{04A1A8B4-2D02-0E4C-ABDE-3E7EA1CDA193}" sibTransId="{AAE611F6-498E-2C44-A5E1-22014280F709}"/>
    <dgm:cxn modelId="{A5C7C1BC-C406-9F47-812A-AEA2ABB77CD7}" type="presOf" srcId="{EDA189EE-7784-D542-B753-88EA0AD6BB62}" destId="{9440D8E9-710A-284F-8263-5A8EB43E7FD4}" srcOrd="0" destOrd="0" presId="urn:microsoft.com/office/officeart/2009/3/layout/StepUpProcess"/>
    <dgm:cxn modelId="{A507BDF4-B46A-F84A-9FBA-01B054927009}" srcId="{EDA189EE-7784-D542-B753-88EA0AD6BB62}" destId="{84FEE9A3-70C0-8548-90BC-5E6C02F2E8E0}" srcOrd="2" destOrd="0" parTransId="{AE50A063-4A14-A84B-911B-86080ABE424C}" sibTransId="{4FA0BE37-B02B-D040-8111-72D15F1461BD}"/>
    <dgm:cxn modelId="{C24785F5-066D-664A-9A62-B4BA00449BE6}" type="presParOf" srcId="{9440D8E9-710A-284F-8263-5A8EB43E7FD4}" destId="{D1F93CB2-1874-1F42-93B0-87BC9C18D3D6}" srcOrd="0" destOrd="0" presId="urn:microsoft.com/office/officeart/2009/3/layout/StepUpProcess"/>
    <dgm:cxn modelId="{E95204D6-5283-5742-8E30-490A0B196092}" type="presParOf" srcId="{D1F93CB2-1874-1F42-93B0-87BC9C18D3D6}" destId="{488CCB56-2F93-734E-AFB2-8B85D1011758}" srcOrd="0" destOrd="0" presId="urn:microsoft.com/office/officeart/2009/3/layout/StepUpProcess"/>
    <dgm:cxn modelId="{01A97EE9-7D9D-3743-8DBA-9ACC2F5EE64C}" type="presParOf" srcId="{D1F93CB2-1874-1F42-93B0-87BC9C18D3D6}" destId="{63840444-51BC-434C-AA76-1440172CBB4C}" srcOrd="1" destOrd="0" presId="urn:microsoft.com/office/officeart/2009/3/layout/StepUpProcess"/>
    <dgm:cxn modelId="{AADCEE63-6223-EF4F-A0FA-A4EB0BBD5298}" type="presParOf" srcId="{D1F93CB2-1874-1F42-93B0-87BC9C18D3D6}" destId="{AA91A3B7-DBA7-2245-A483-52E727678875}" srcOrd="2" destOrd="0" presId="urn:microsoft.com/office/officeart/2009/3/layout/StepUpProcess"/>
    <dgm:cxn modelId="{14501CBE-561C-194D-8AC4-134F5348663D}" type="presParOf" srcId="{9440D8E9-710A-284F-8263-5A8EB43E7FD4}" destId="{62B69C78-D6F1-6948-8F55-B20ADC07A606}" srcOrd="1" destOrd="0" presId="urn:microsoft.com/office/officeart/2009/3/layout/StepUpProcess"/>
    <dgm:cxn modelId="{3BDE9805-EC9F-F740-BC12-940968BE4C7B}" type="presParOf" srcId="{62B69C78-D6F1-6948-8F55-B20ADC07A606}" destId="{52BFD1E2-49D6-FF42-9CC7-0F3D5B19FA74}" srcOrd="0" destOrd="0" presId="urn:microsoft.com/office/officeart/2009/3/layout/StepUpProcess"/>
    <dgm:cxn modelId="{10CCB372-C3C3-A541-A8DB-E2AEB3057C15}" type="presParOf" srcId="{9440D8E9-710A-284F-8263-5A8EB43E7FD4}" destId="{4CFF444A-BA65-4C49-A51E-FA46E8E354B2}" srcOrd="2" destOrd="0" presId="urn:microsoft.com/office/officeart/2009/3/layout/StepUpProcess"/>
    <dgm:cxn modelId="{867F22DF-93BC-E44F-B043-DE0E093BFF33}" type="presParOf" srcId="{4CFF444A-BA65-4C49-A51E-FA46E8E354B2}" destId="{3DB48418-9CA8-1148-B675-6D28820A37D2}" srcOrd="0" destOrd="0" presId="urn:microsoft.com/office/officeart/2009/3/layout/StepUpProcess"/>
    <dgm:cxn modelId="{4B35785C-EFB5-2347-8FE1-F89CEC5A582E}" type="presParOf" srcId="{4CFF444A-BA65-4C49-A51E-FA46E8E354B2}" destId="{592E5A36-E87A-3740-B0BA-6A7EE98C7E46}" srcOrd="1" destOrd="0" presId="urn:microsoft.com/office/officeart/2009/3/layout/StepUpProcess"/>
    <dgm:cxn modelId="{C72C267A-D3C6-4F4F-BAFC-1FCCC10C26CF}" type="presParOf" srcId="{4CFF444A-BA65-4C49-A51E-FA46E8E354B2}" destId="{0D24ABF3-9F18-404B-A01F-0FC8535DE171}" srcOrd="2" destOrd="0" presId="urn:microsoft.com/office/officeart/2009/3/layout/StepUpProcess"/>
    <dgm:cxn modelId="{E4437C0F-ECE9-9845-9811-06B9D94C4183}" type="presParOf" srcId="{9440D8E9-710A-284F-8263-5A8EB43E7FD4}" destId="{1E94EBDC-FD43-DB40-BC9A-421388AD4EE4}" srcOrd="3" destOrd="0" presId="urn:microsoft.com/office/officeart/2009/3/layout/StepUpProcess"/>
    <dgm:cxn modelId="{87487DCB-4059-7A40-B91D-1DBBD74D13E0}" type="presParOf" srcId="{1E94EBDC-FD43-DB40-BC9A-421388AD4EE4}" destId="{3C76CE7A-A9E4-374C-9239-72EE473F0203}" srcOrd="0" destOrd="0" presId="urn:microsoft.com/office/officeart/2009/3/layout/StepUpProcess"/>
    <dgm:cxn modelId="{C68381F0-F06A-3C41-86E9-747166BA808C}" type="presParOf" srcId="{9440D8E9-710A-284F-8263-5A8EB43E7FD4}" destId="{C06CC310-B04A-7E49-BB73-973238481B87}" srcOrd="4" destOrd="0" presId="urn:microsoft.com/office/officeart/2009/3/layout/StepUpProcess"/>
    <dgm:cxn modelId="{347D13EF-D2ED-C349-A09B-5E16ED42C268}" type="presParOf" srcId="{C06CC310-B04A-7E49-BB73-973238481B87}" destId="{4988B273-EA8E-8B4C-9DB3-C3412561982C}" srcOrd="0" destOrd="0" presId="urn:microsoft.com/office/officeart/2009/3/layout/StepUpProcess"/>
    <dgm:cxn modelId="{77FFA987-2472-FE48-9FEB-1EA542E7EE56}" type="presParOf" srcId="{C06CC310-B04A-7E49-BB73-973238481B87}" destId="{265D9F15-1BFC-F94E-9C2E-59FDD96F641F}" srcOrd="1" destOrd="0" presId="urn:microsoft.com/office/officeart/2009/3/layout/StepUpProcess"/>
    <dgm:cxn modelId="{FD4C2EEB-2168-7E42-B44A-29E42DA05CF8}" type="presParOf" srcId="{C06CC310-B04A-7E49-BB73-973238481B87}" destId="{201457A4-A78A-0644-8E0D-5228E7943D92}" srcOrd="2" destOrd="0" presId="urn:microsoft.com/office/officeart/2009/3/layout/StepUpProcess"/>
    <dgm:cxn modelId="{D0063810-6983-E44F-9949-44AF7827CA33}" type="presParOf" srcId="{9440D8E9-710A-284F-8263-5A8EB43E7FD4}" destId="{F7A8E3ED-F85C-D347-9490-D75F1A845DFC}" srcOrd="5" destOrd="0" presId="urn:microsoft.com/office/officeart/2009/3/layout/StepUpProcess"/>
    <dgm:cxn modelId="{E279E290-8F5C-2546-88EC-0648F39FC322}" type="presParOf" srcId="{F7A8E3ED-F85C-D347-9490-D75F1A845DFC}" destId="{B4D0FEA6-F71B-A449-9F13-177BE1BA3B23}" srcOrd="0" destOrd="0" presId="urn:microsoft.com/office/officeart/2009/3/layout/StepUpProcess"/>
    <dgm:cxn modelId="{4D799669-88F7-F14B-AE29-D5A2028A2291}" type="presParOf" srcId="{9440D8E9-710A-284F-8263-5A8EB43E7FD4}" destId="{F47A3550-12F5-D742-B218-A2AE155EC90B}" srcOrd="6" destOrd="0" presId="urn:microsoft.com/office/officeart/2009/3/layout/StepUpProcess"/>
    <dgm:cxn modelId="{98105D92-926A-4C4A-A319-7280462C05D4}" type="presParOf" srcId="{F47A3550-12F5-D742-B218-A2AE155EC90B}" destId="{E70CDBE4-EA10-074C-82F9-8A666CD60476}" srcOrd="0" destOrd="0" presId="urn:microsoft.com/office/officeart/2009/3/layout/StepUpProcess"/>
    <dgm:cxn modelId="{15D2B2C5-09E6-B845-8A76-CA0D3A202996}" type="presParOf" srcId="{F47A3550-12F5-D742-B218-A2AE155EC90B}" destId="{2C2E36AF-927C-EB48-8386-2060F6C3042B}"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7EDAD00-882B-4ECC-A575-0372092BA8C0}"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AE42BA9A-C055-468C-87BD-1D66DB0A6C36}">
      <dgm:prSet custT="1"/>
      <dgm:spPr/>
      <dgm:t>
        <a:bodyPr/>
        <a:lstStyle/>
        <a:p>
          <a:r>
            <a:rPr lang="en-US" sz="3000" dirty="0">
              <a:latin typeface="Cambria" panose="02040503050406030204" pitchFamily="18" charset="0"/>
            </a:rPr>
            <a:t>Geo Tagging</a:t>
          </a:r>
          <a:r>
            <a:rPr lang="en-US" sz="3000" baseline="0" dirty="0">
              <a:latin typeface="Cambria" panose="02040503050406030204" pitchFamily="18" charset="0"/>
            </a:rPr>
            <a:t> enabled </a:t>
          </a:r>
          <a:endParaRPr lang="en-US" sz="3000" dirty="0">
            <a:latin typeface="Cambria" panose="02040503050406030204" pitchFamily="18" charset="0"/>
          </a:endParaRPr>
        </a:p>
      </dgm:t>
    </dgm:pt>
    <dgm:pt modelId="{680B0115-809E-490C-8F71-35AFDD16661B}" type="parTrans" cxnId="{67D4F155-4596-4146-B420-2FC0715AAD19}">
      <dgm:prSet/>
      <dgm:spPr/>
      <dgm:t>
        <a:bodyPr/>
        <a:lstStyle/>
        <a:p>
          <a:endParaRPr lang="en-US" sz="3000">
            <a:latin typeface="Cambria" panose="02040503050406030204" pitchFamily="18" charset="0"/>
          </a:endParaRPr>
        </a:p>
      </dgm:t>
    </dgm:pt>
    <dgm:pt modelId="{36F92901-0728-4337-8445-323C584974A5}" type="sibTrans" cxnId="{67D4F155-4596-4146-B420-2FC0715AAD19}">
      <dgm:prSet/>
      <dgm:spPr/>
      <dgm:t>
        <a:bodyPr/>
        <a:lstStyle/>
        <a:p>
          <a:endParaRPr lang="en-US" sz="3000">
            <a:latin typeface="Cambria" panose="02040503050406030204" pitchFamily="18" charset="0"/>
          </a:endParaRPr>
        </a:p>
      </dgm:t>
    </dgm:pt>
    <dgm:pt modelId="{C19964B0-3278-4B02-9DFF-93C21F236F10}">
      <dgm:prSet custT="1"/>
      <dgm:spPr/>
      <dgm:t>
        <a:bodyPr/>
        <a:lstStyle/>
        <a:p>
          <a:r>
            <a:rPr lang="en-US" sz="3000" baseline="0" dirty="0">
              <a:latin typeface="Cambria" panose="02040503050406030204" pitchFamily="18" charset="0"/>
            </a:rPr>
            <a:t>Tracking of time spend in visit</a:t>
          </a:r>
          <a:endParaRPr lang="en-US" sz="3000" dirty="0">
            <a:latin typeface="Cambria" panose="02040503050406030204" pitchFamily="18" charset="0"/>
          </a:endParaRPr>
        </a:p>
      </dgm:t>
    </dgm:pt>
    <dgm:pt modelId="{624BD3BC-71B4-4D66-ADFC-B1487C57330E}" type="parTrans" cxnId="{E641F26D-9760-43FB-9505-A049756B189E}">
      <dgm:prSet/>
      <dgm:spPr/>
      <dgm:t>
        <a:bodyPr/>
        <a:lstStyle/>
        <a:p>
          <a:endParaRPr lang="en-US" sz="3000">
            <a:latin typeface="Cambria" panose="02040503050406030204" pitchFamily="18" charset="0"/>
          </a:endParaRPr>
        </a:p>
      </dgm:t>
    </dgm:pt>
    <dgm:pt modelId="{D14CBEF2-40DD-4AD8-B9BA-DD36206D8D06}" type="sibTrans" cxnId="{E641F26D-9760-43FB-9505-A049756B189E}">
      <dgm:prSet/>
      <dgm:spPr/>
      <dgm:t>
        <a:bodyPr/>
        <a:lstStyle/>
        <a:p>
          <a:endParaRPr lang="en-US" sz="3000">
            <a:latin typeface="Cambria" panose="02040503050406030204" pitchFamily="18" charset="0"/>
          </a:endParaRPr>
        </a:p>
      </dgm:t>
    </dgm:pt>
    <dgm:pt modelId="{5DE0D6D2-D54A-4C9A-A09A-CDD34E01DE3B}">
      <dgm:prSet custT="1"/>
      <dgm:spPr/>
      <dgm:t>
        <a:bodyPr/>
        <a:lstStyle/>
        <a:p>
          <a:r>
            <a:rPr lang="en-US" sz="3000" baseline="0" dirty="0">
              <a:latin typeface="Cambria" panose="02040503050406030204" pitchFamily="18" charset="0"/>
            </a:rPr>
            <a:t>Geo Fencing enabled </a:t>
          </a:r>
          <a:endParaRPr lang="en-US" sz="3000" dirty="0">
            <a:latin typeface="Cambria" panose="02040503050406030204" pitchFamily="18" charset="0"/>
          </a:endParaRPr>
        </a:p>
      </dgm:t>
    </dgm:pt>
    <dgm:pt modelId="{7C671FF6-19C9-424B-BAC6-D9F6B5BC0B54}" type="parTrans" cxnId="{4793F9C6-5C27-4AE2-BF9D-DFD934709556}">
      <dgm:prSet/>
      <dgm:spPr/>
      <dgm:t>
        <a:bodyPr/>
        <a:lstStyle/>
        <a:p>
          <a:endParaRPr lang="en-US" sz="3000">
            <a:latin typeface="Cambria" panose="02040503050406030204" pitchFamily="18" charset="0"/>
          </a:endParaRPr>
        </a:p>
      </dgm:t>
    </dgm:pt>
    <dgm:pt modelId="{A5D3186E-E91C-40C2-9EC6-43E366AE64F9}" type="sibTrans" cxnId="{4793F9C6-5C27-4AE2-BF9D-DFD934709556}">
      <dgm:prSet/>
      <dgm:spPr/>
      <dgm:t>
        <a:bodyPr/>
        <a:lstStyle/>
        <a:p>
          <a:endParaRPr lang="en-US" sz="3000">
            <a:latin typeface="Cambria" panose="02040503050406030204" pitchFamily="18" charset="0"/>
          </a:endParaRPr>
        </a:p>
      </dgm:t>
    </dgm:pt>
    <dgm:pt modelId="{11D54F32-7538-4AED-B420-FF1497488DCE}">
      <dgm:prSet custT="1"/>
      <dgm:spPr/>
      <dgm:t>
        <a:bodyPr/>
        <a:lstStyle/>
        <a:p>
          <a:pPr defTabSz="957263"/>
          <a:r>
            <a:rPr lang="en-US" sz="3000" baseline="0" dirty="0">
              <a:latin typeface="Cambria" panose="02040503050406030204" pitchFamily="18" charset="0"/>
            </a:rPr>
            <a:t>Big Data Analysis  &amp;Visualization</a:t>
          </a:r>
        </a:p>
      </dgm:t>
    </dgm:pt>
    <dgm:pt modelId="{A5C18F72-8EAB-4936-AAC1-E6300231E400}" type="parTrans" cxnId="{8519200C-07DE-42F8-8A35-A23612B3A2B3}">
      <dgm:prSet/>
      <dgm:spPr/>
      <dgm:t>
        <a:bodyPr/>
        <a:lstStyle/>
        <a:p>
          <a:endParaRPr lang="en-US" sz="3000"/>
        </a:p>
      </dgm:t>
    </dgm:pt>
    <dgm:pt modelId="{08FF4E6F-78D6-4B0C-98D7-52F0393BE1EE}" type="sibTrans" cxnId="{8519200C-07DE-42F8-8A35-A23612B3A2B3}">
      <dgm:prSet/>
      <dgm:spPr/>
      <dgm:t>
        <a:bodyPr/>
        <a:lstStyle/>
        <a:p>
          <a:endParaRPr lang="en-US" sz="3000"/>
        </a:p>
      </dgm:t>
    </dgm:pt>
    <dgm:pt modelId="{EB4954AD-A923-4812-BFD5-535D089007EE}" type="pres">
      <dgm:prSet presAssocID="{A7EDAD00-882B-4ECC-A575-0372092BA8C0}" presName="root" presStyleCnt="0">
        <dgm:presLayoutVars>
          <dgm:dir/>
          <dgm:resizeHandles val="exact"/>
        </dgm:presLayoutVars>
      </dgm:prSet>
      <dgm:spPr/>
    </dgm:pt>
    <dgm:pt modelId="{D8710D44-172D-4005-95ED-BE4309D329A1}" type="pres">
      <dgm:prSet presAssocID="{AE42BA9A-C055-468C-87BD-1D66DB0A6C36}" presName="compNode" presStyleCnt="0"/>
      <dgm:spPr/>
    </dgm:pt>
    <dgm:pt modelId="{D87DD039-AE1C-4A15-8957-A62513B4171F}" type="pres">
      <dgm:prSet presAssocID="{AE42BA9A-C055-468C-87BD-1D66DB0A6C36}" presName="bgRect" presStyleLbl="bgShp" presStyleIdx="0" presStyleCnt="4"/>
      <dgm:spPr/>
    </dgm:pt>
    <dgm:pt modelId="{6E96E92C-8F8C-4C82-B5DA-6497926265C3}" type="pres">
      <dgm:prSet presAssocID="{AE42BA9A-C055-468C-87BD-1D66DB0A6C36}" presName="iconRect" presStyleLbl="node1" presStyleIdx="0" presStyleCnt="4"/>
      <dgm:spPr>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arker"/>
        </a:ext>
      </dgm:extLst>
    </dgm:pt>
    <dgm:pt modelId="{22E7C628-BF06-435A-B78D-E82132D61125}" type="pres">
      <dgm:prSet presAssocID="{AE42BA9A-C055-468C-87BD-1D66DB0A6C36}" presName="spaceRect" presStyleCnt="0"/>
      <dgm:spPr/>
    </dgm:pt>
    <dgm:pt modelId="{F8E70872-9928-4564-9558-3A1DD961BE38}" type="pres">
      <dgm:prSet presAssocID="{AE42BA9A-C055-468C-87BD-1D66DB0A6C36}" presName="parTx" presStyleLbl="revTx" presStyleIdx="0" presStyleCnt="4">
        <dgm:presLayoutVars>
          <dgm:chMax val="0"/>
          <dgm:chPref val="0"/>
        </dgm:presLayoutVars>
      </dgm:prSet>
      <dgm:spPr/>
    </dgm:pt>
    <dgm:pt modelId="{DC76B8BB-DA1A-4164-884D-9EBB345B33EC}" type="pres">
      <dgm:prSet presAssocID="{36F92901-0728-4337-8445-323C584974A5}" presName="sibTrans" presStyleCnt="0"/>
      <dgm:spPr/>
    </dgm:pt>
    <dgm:pt modelId="{7A852A81-DD86-4547-A3E0-FB2DA5040E83}" type="pres">
      <dgm:prSet presAssocID="{C19964B0-3278-4B02-9DFF-93C21F236F10}" presName="compNode" presStyleCnt="0"/>
      <dgm:spPr/>
    </dgm:pt>
    <dgm:pt modelId="{637DCEFC-6E41-42C6-8110-3CB32D5A9686}" type="pres">
      <dgm:prSet presAssocID="{C19964B0-3278-4B02-9DFF-93C21F236F10}" presName="bgRect" presStyleLbl="bgShp" presStyleIdx="1" presStyleCnt="4"/>
      <dgm:spPr/>
    </dgm:pt>
    <dgm:pt modelId="{60129673-895B-4A0A-8E0D-07098ACE0E28}" type="pres">
      <dgm:prSet presAssocID="{C19964B0-3278-4B02-9DFF-93C21F236F10}" presName="iconRect" presStyleLbl="node1" presStyleIdx="1" presStyleCnt="4"/>
      <dgm:spPr>
        <a:blipFill>
          <a:blip xmlns:r="http://schemas.openxmlformats.org/officeDocument/2006/relationships"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ily Calendar"/>
        </a:ext>
      </dgm:extLst>
    </dgm:pt>
    <dgm:pt modelId="{50097C49-AE10-4D4F-B482-70960993C745}" type="pres">
      <dgm:prSet presAssocID="{C19964B0-3278-4B02-9DFF-93C21F236F10}" presName="spaceRect" presStyleCnt="0"/>
      <dgm:spPr/>
    </dgm:pt>
    <dgm:pt modelId="{257D00EF-E42A-40E6-B860-D23F3B8FFD28}" type="pres">
      <dgm:prSet presAssocID="{C19964B0-3278-4B02-9DFF-93C21F236F10}" presName="parTx" presStyleLbl="revTx" presStyleIdx="1" presStyleCnt="4">
        <dgm:presLayoutVars>
          <dgm:chMax val="0"/>
          <dgm:chPref val="0"/>
        </dgm:presLayoutVars>
      </dgm:prSet>
      <dgm:spPr/>
    </dgm:pt>
    <dgm:pt modelId="{E4131E41-CF2F-467C-AAA9-7E3748743CF0}" type="pres">
      <dgm:prSet presAssocID="{D14CBEF2-40DD-4AD8-B9BA-DD36206D8D06}" presName="sibTrans" presStyleCnt="0"/>
      <dgm:spPr/>
    </dgm:pt>
    <dgm:pt modelId="{3B8DC5C5-1C40-4638-B2A9-C7855328EBE4}" type="pres">
      <dgm:prSet presAssocID="{5DE0D6D2-D54A-4C9A-A09A-CDD34E01DE3B}" presName="compNode" presStyleCnt="0"/>
      <dgm:spPr/>
    </dgm:pt>
    <dgm:pt modelId="{8BD37088-0F35-4FB8-95D5-508113C7597B}" type="pres">
      <dgm:prSet presAssocID="{5DE0D6D2-D54A-4C9A-A09A-CDD34E01DE3B}" presName="bgRect" presStyleLbl="bgShp" presStyleIdx="2" presStyleCnt="4"/>
      <dgm:spPr/>
    </dgm:pt>
    <dgm:pt modelId="{8561E2F1-F8C9-49E0-A912-975092662E1D}" type="pres">
      <dgm:prSet presAssocID="{5DE0D6D2-D54A-4C9A-A09A-CDD34E01DE3B}" presName="iconRect" presStyleLbl="node1" presStyleIdx="2" presStyleCnt="4"/>
      <dgm:spPr>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arth Globe Americas"/>
        </a:ext>
      </dgm:extLst>
    </dgm:pt>
    <dgm:pt modelId="{28D538EA-7985-485A-99E1-8CD6FDA7D4E7}" type="pres">
      <dgm:prSet presAssocID="{5DE0D6D2-D54A-4C9A-A09A-CDD34E01DE3B}" presName="spaceRect" presStyleCnt="0"/>
      <dgm:spPr/>
    </dgm:pt>
    <dgm:pt modelId="{9CD8C123-5E61-4C6D-A08A-37C7337A26A5}" type="pres">
      <dgm:prSet presAssocID="{5DE0D6D2-D54A-4C9A-A09A-CDD34E01DE3B}" presName="parTx" presStyleLbl="revTx" presStyleIdx="2" presStyleCnt="4">
        <dgm:presLayoutVars>
          <dgm:chMax val="0"/>
          <dgm:chPref val="0"/>
        </dgm:presLayoutVars>
      </dgm:prSet>
      <dgm:spPr/>
    </dgm:pt>
    <dgm:pt modelId="{DE8B7453-0E92-4472-BCB6-74B6EC2C6422}" type="pres">
      <dgm:prSet presAssocID="{A5D3186E-E91C-40C2-9EC6-43E366AE64F9}" presName="sibTrans" presStyleCnt="0"/>
      <dgm:spPr/>
    </dgm:pt>
    <dgm:pt modelId="{E117C0C2-D9AF-42EB-915F-098003B074DC}" type="pres">
      <dgm:prSet presAssocID="{11D54F32-7538-4AED-B420-FF1497488DCE}" presName="compNode" presStyleCnt="0"/>
      <dgm:spPr/>
    </dgm:pt>
    <dgm:pt modelId="{19F0263E-1EEE-4C78-97A6-04A69BB3B483}" type="pres">
      <dgm:prSet presAssocID="{11D54F32-7538-4AED-B420-FF1497488DCE}" presName="bgRect" presStyleLbl="bgShp" presStyleIdx="3" presStyleCnt="4"/>
      <dgm:spPr/>
    </dgm:pt>
    <dgm:pt modelId="{54115174-E89F-4EF6-92EC-45FAB2115A7A}" type="pres">
      <dgm:prSet presAssocID="{11D54F32-7538-4AED-B420-FF1497488DCE}" presName="iconRect" presStyleLbl="node1" presStyleIdx="3" presStyleCnt="4"/>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l="-20000" r="-20000"/>
          </a:stretch>
        </a:blipFill>
      </dgm:spPr>
    </dgm:pt>
    <dgm:pt modelId="{D930B223-A4C2-47AC-B89D-5F9C4DDE5F44}" type="pres">
      <dgm:prSet presAssocID="{11D54F32-7538-4AED-B420-FF1497488DCE}" presName="spaceRect" presStyleCnt="0"/>
      <dgm:spPr/>
    </dgm:pt>
    <dgm:pt modelId="{33D78AF3-795E-4F48-8614-DADD7A04A27E}" type="pres">
      <dgm:prSet presAssocID="{11D54F32-7538-4AED-B420-FF1497488DCE}" presName="parTx" presStyleLbl="revTx" presStyleIdx="3" presStyleCnt="4" custScaleX="105429">
        <dgm:presLayoutVars>
          <dgm:chMax val="0"/>
          <dgm:chPref val="0"/>
        </dgm:presLayoutVars>
      </dgm:prSet>
      <dgm:spPr/>
    </dgm:pt>
  </dgm:ptLst>
  <dgm:cxnLst>
    <dgm:cxn modelId="{8519200C-07DE-42F8-8A35-A23612B3A2B3}" srcId="{A7EDAD00-882B-4ECC-A575-0372092BA8C0}" destId="{11D54F32-7538-4AED-B420-FF1497488DCE}" srcOrd="3" destOrd="0" parTransId="{A5C18F72-8EAB-4936-AAC1-E6300231E400}" sibTransId="{08FF4E6F-78D6-4B0C-98D7-52F0393BE1EE}"/>
    <dgm:cxn modelId="{14EFA31C-187B-4F6C-BBB5-FC2D58ADC49D}" type="presOf" srcId="{AE42BA9A-C055-468C-87BD-1D66DB0A6C36}" destId="{F8E70872-9928-4564-9558-3A1DD961BE38}" srcOrd="0" destOrd="0" presId="urn:microsoft.com/office/officeart/2018/2/layout/IconVerticalSolidList"/>
    <dgm:cxn modelId="{27C4271E-9510-4A53-9B86-E0273A0CFFC2}" type="presOf" srcId="{11D54F32-7538-4AED-B420-FF1497488DCE}" destId="{33D78AF3-795E-4F48-8614-DADD7A04A27E}" srcOrd="0" destOrd="0" presId="urn:microsoft.com/office/officeart/2018/2/layout/IconVerticalSolidList"/>
    <dgm:cxn modelId="{36E5AE46-9BEB-4C60-9BAD-EF314835B60D}" type="presOf" srcId="{5DE0D6D2-D54A-4C9A-A09A-CDD34E01DE3B}" destId="{9CD8C123-5E61-4C6D-A08A-37C7337A26A5}" srcOrd="0" destOrd="0" presId="urn:microsoft.com/office/officeart/2018/2/layout/IconVerticalSolidList"/>
    <dgm:cxn modelId="{67D4F155-4596-4146-B420-2FC0715AAD19}" srcId="{A7EDAD00-882B-4ECC-A575-0372092BA8C0}" destId="{AE42BA9A-C055-468C-87BD-1D66DB0A6C36}" srcOrd="0" destOrd="0" parTransId="{680B0115-809E-490C-8F71-35AFDD16661B}" sibTransId="{36F92901-0728-4337-8445-323C584974A5}"/>
    <dgm:cxn modelId="{E641F26D-9760-43FB-9505-A049756B189E}" srcId="{A7EDAD00-882B-4ECC-A575-0372092BA8C0}" destId="{C19964B0-3278-4B02-9DFF-93C21F236F10}" srcOrd="1" destOrd="0" parTransId="{624BD3BC-71B4-4D66-ADFC-B1487C57330E}" sibTransId="{D14CBEF2-40DD-4AD8-B9BA-DD36206D8D06}"/>
    <dgm:cxn modelId="{4793F9C6-5C27-4AE2-BF9D-DFD934709556}" srcId="{A7EDAD00-882B-4ECC-A575-0372092BA8C0}" destId="{5DE0D6D2-D54A-4C9A-A09A-CDD34E01DE3B}" srcOrd="2" destOrd="0" parTransId="{7C671FF6-19C9-424B-BAC6-D9F6B5BC0B54}" sibTransId="{A5D3186E-E91C-40C2-9EC6-43E366AE64F9}"/>
    <dgm:cxn modelId="{F01A35DB-2796-486B-9C78-69B19831675B}" type="presOf" srcId="{A7EDAD00-882B-4ECC-A575-0372092BA8C0}" destId="{EB4954AD-A923-4812-BFD5-535D089007EE}" srcOrd="0" destOrd="0" presId="urn:microsoft.com/office/officeart/2018/2/layout/IconVerticalSolidList"/>
    <dgm:cxn modelId="{86B62EF4-1C6C-4255-BA23-583D2E9E3B24}" type="presOf" srcId="{C19964B0-3278-4B02-9DFF-93C21F236F10}" destId="{257D00EF-E42A-40E6-B860-D23F3B8FFD28}" srcOrd="0" destOrd="0" presId="urn:microsoft.com/office/officeart/2018/2/layout/IconVerticalSolidList"/>
    <dgm:cxn modelId="{0B984F01-4924-47D7-B2E5-D76DB7D77799}" type="presParOf" srcId="{EB4954AD-A923-4812-BFD5-535D089007EE}" destId="{D8710D44-172D-4005-95ED-BE4309D329A1}" srcOrd="0" destOrd="0" presId="urn:microsoft.com/office/officeart/2018/2/layout/IconVerticalSolidList"/>
    <dgm:cxn modelId="{3924C1B1-BE40-4312-BF53-8FF636794E44}" type="presParOf" srcId="{D8710D44-172D-4005-95ED-BE4309D329A1}" destId="{D87DD039-AE1C-4A15-8957-A62513B4171F}" srcOrd="0" destOrd="0" presId="urn:microsoft.com/office/officeart/2018/2/layout/IconVerticalSolidList"/>
    <dgm:cxn modelId="{1891BB8C-805C-45B2-A290-6EADE5F2F98F}" type="presParOf" srcId="{D8710D44-172D-4005-95ED-BE4309D329A1}" destId="{6E96E92C-8F8C-4C82-B5DA-6497926265C3}" srcOrd="1" destOrd="0" presId="urn:microsoft.com/office/officeart/2018/2/layout/IconVerticalSolidList"/>
    <dgm:cxn modelId="{F9B6031F-9288-4D17-B5C5-944BAD532CD1}" type="presParOf" srcId="{D8710D44-172D-4005-95ED-BE4309D329A1}" destId="{22E7C628-BF06-435A-B78D-E82132D61125}" srcOrd="2" destOrd="0" presId="urn:microsoft.com/office/officeart/2018/2/layout/IconVerticalSolidList"/>
    <dgm:cxn modelId="{991A030A-50D9-4B1F-8392-A77D892EDD6F}" type="presParOf" srcId="{D8710D44-172D-4005-95ED-BE4309D329A1}" destId="{F8E70872-9928-4564-9558-3A1DD961BE38}" srcOrd="3" destOrd="0" presId="urn:microsoft.com/office/officeart/2018/2/layout/IconVerticalSolidList"/>
    <dgm:cxn modelId="{0861B69A-5D55-48A0-AD67-52DA2ADC559F}" type="presParOf" srcId="{EB4954AD-A923-4812-BFD5-535D089007EE}" destId="{DC76B8BB-DA1A-4164-884D-9EBB345B33EC}" srcOrd="1" destOrd="0" presId="urn:microsoft.com/office/officeart/2018/2/layout/IconVerticalSolidList"/>
    <dgm:cxn modelId="{70A5A7F7-F18E-4CBF-8660-2699FAB26079}" type="presParOf" srcId="{EB4954AD-A923-4812-BFD5-535D089007EE}" destId="{7A852A81-DD86-4547-A3E0-FB2DA5040E83}" srcOrd="2" destOrd="0" presId="urn:microsoft.com/office/officeart/2018/2/layout/IconVerticalSolidList"/>
    <dgm:cxn modelId="{2A5A6BD7-CF51-43C1-8CC7-597B566DCC4F}" type="presParOf" srcId="{7A852A81-DD86-4547-A3E0-FB2DA5040E83}" destId="{637DCEFC-6E41-42C6-8110-3CB32D5A9686}" srcOrd="0" destOrd="0" presId="urn:microsoft.com/office/officeart/2018/2/layout/IconVerticalSolidList"/>
    <dgm:cxn modelId="{93690C27-6A16-4019-BFA4-0133BA1373AD}" type="presParOf" srcId="{7A852A81-DD86-4547-A3E0-FB2DA5040E83}" destId="{60129673-895B-4A0A-8E0D-07098ACE0E28}" srcOrd="1" destOrd="0" presId="urn:microsoft.com/office/officeart/2018/2/layout/IconVerticalSolidList"/>
    <dgm:cxn modelId="{3A534C61-90ED-496D-9245-70B21E603C65}" type="presParOf" srcId="{7A852A81-DD86-4547-A3E0-FB2DA5040E83}" destId="{50097C49-AE10-4D4F-B482-70960993C745}" srcOrd="2" destOrd="0" presId="urn:microsoft.com/office/officeart/2018/2/layout/IconVerticalSolidList"/>
    <dgm:cxn modelId="{28C7CC94-5159-4FEF-A85D-FC50AD77A02A}" type="presParOf" srcId="{7A852A81-DD86-4547-A3E0-FB2DA5040E83}" destId="{257D00EF-E42A-40E6-B860-D23F3B8FFD28}" srcOrd="3" destOrd="0" presId="urn:microsoft.com/office/officeart/2018/2/layout/IconVerticalSolidList"/>
    <dgm:cxn modelId="{B09A6A97-3285-4B43-A194-311685112A5C}" type="presParOf" srcId="{EB4954AD-A923-4812-BFD5-535D089007EE}" destId="{E4131E41-CF2F-467C-AAA9-7E3748743CF0}" srcOrd="3" destOrd="0" presId="urn:microsoft.com/office/officeart/2018/2/layout/IconVerticalSolidList"/>
    <dgm:cxn modelId="{41C96477-A1D5-4B67-936D-B3FA89499428}" type="presParOf" srcId="{EB4954AD-A923-4812-BFD5-535D089007EE}" destId="{3B8DC5C5-1C40-4638-B2A9-C7855328EBE4}" srcOrd="4" destOrd="0" presId="urn:microsoft.com/office/officeart/2018/2/layout/IconVerticalSolidList"/>
    <dgm:cxn modelId="{9B8DDF3C-3791-4914-A331-14ABDDA609FA}" type="presParOf" srcId="{3B8DC5C5-1C40-4638-B2A9-C7855328EBE4}" destId="{8BD37088-0F35-4FB8-95D5-508113C7597B}" srcOrd="0" destOrd="0" presId="urn:microsoft.com/office/officeart/2018/2/layout/IconVerticalSolidList"/>
    <dgm:cxn modelId="{9E3AF067-936C-4EB7-9392-C9DB1BAAC38A}" type="presParOf" srcId="{3B8DC5C5-1C40-4638-B2A9-C7855328EBE4}" destId="{8561E2F1-F8C9-49E0-A912-975092662E1D}" srcOrd="1" destOrd="0" presId="urn:microsoft.com/office/officeart/2018/2/layout/IconVerticalSolidList"/>
    <dgm:cxn modelId="{6AA259A5-37B4-4C24-9BFC-E2C8670E3C9D}" type="presParOf" srcId="{3B8DC5C5-1C40-4638-B2A9-C7855328EBE4}" destId="{28D538EA-7985-485A-99E1-8CD6FDA7D4E7}" srcOrd="2" destOrd="0" presId="urn:microsoft.com/office/officeart/2018/2/layout/IconVerticalSolidList"/>
    <dgm:cxn modelId="{3E123FE2-87BA-462F-8579-42838A76B33F}" type="presParOf" srcId="{3B8DC5C5-1C40-4638-B2A9-C7855328EBE4}" destId="{9CD8C123-5E61-4C6D-A08A-37C7337A26A5}" srcOrd="3" destOrd="0" presId="urn:microsoft.com/office/officeart/2018/2/layout/IconVerticalSolidList"/>
    <dgm:cxn modelId="{143B8ED8-6882-47CB-B43B-5572C5B2E9E1}" type="presParOf" srcId="{EB4954AD-A923-4812-BFD5-535D089007EE}" destId="{DE8B7453-0E92-4472-BCB6-74B6EC2C6422}" srcOrd="5" destOrd="0" presId="urn:microsoft.com/office/officeart/2018/2/layout/IconVerticalSolidList"/>
    <dgm:cxn modelId="{E4B7C581-6275-4041-96C3-F2627FA7D358}" type="presParOf" srcId="{EB4954AD-A923-4812-BFD5-535D089007EE}" destId="{E117C0C2-D9AF-42EB-915F-098003B074DC}" srcOrd="6" destOrd="0" presId="urn:microsoft.com/office/officeart/2018/2/layout/IconVerticalSolidList"/>
    <dgm:cxn modelId="{5E8CC212-7B80-42E7-A0B6-41E1C671B57E}" type="presParOf" srcId="{E117C0C2-D9AF-42EB-915F-098003B074DC}" destId="{19F0263E-1EEE-4C78-97A6-04A69BB3B483}" srcOrd="0" destOrd="0" presId="urn:microsoft.com/office/officeart/2018/2/layout/IconVerticalSolidList"/>
    <dgm:cxn modelId="{CD76A7A0-4DB0-4AD9-969D-0ED0BDA1F03E}" type="presParOf" srcId="{E117C0C2-D9AF-42EB-915F-098003B074DC}" destId="{54115174-E89F-4EF6-92EC-45FAB2115A7A}" srcOrd="1" destOrd="0" presId="urn:microsoft.com/office/officeart/2018/2/layout/IconVerticalSolidList"/>
    <dgm:cxn modelId="{33D4A8EB-F3FB-4D0B-B094-19C174698FFD}" type="presParOf" srcId="{E117C0C2-D9AF-42EB-915F-098003B074DC}" destId="{D930B223-A4C2-47AC-B89D-5F9C4DDE5F44}" srcOrd="2" destOrd="0" presId="urn:microsoft.com/office/officeart/2018/2/layout/IconVerticalSolidList"/>
    <dgm:cxn modelId="{FC800618-C7B9-4181-B5A7-9734D6316FE4}" type="presParOf" srcId="{E117C0C2-D9AF-42EB-915F-098003B074DC}" destId="{33D78AF3-795E-4F48-8614-DADD7A04A27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590B501-5A48-4E2C-B3C3-E374FF6698B2}" type="doc">
      <dgm:prSet loTypeId="urn:microsoft.com/office/officeart/2011/layout/HexagonRadial" loCatId="cycle" qsTypeId="urn:microsoft.com/office/officeart/2005/8/quickstyle/simple1" qsCatId="simple" csTypeId="urn:microsoft.com/office/officeart/2005/8/colors/colorful4" csCatId="colorful" phldr="1"/>
      <dgm:spPr/>
      <dgm:t>
        <a:bodyPr/>
        <a:lstStyle/>
        <a:p>
          <a:endParaRPr lang="en-US"/>
        </a:p>
      </dgm:t>
    </dgm:pt>
    <dgm:pt modelId="{7C8A3B54-1860-47C1-9EF8-E19F65234E15}">
      <dgm:prSet phldrT="[Text]" custT="1"/>
      <dgm:spPr/>
      <dgm:t>
        <a:bodyPr/>
        <a:lstStyle/>
        <a:p>
          <a:r>
            <a:rPr lang="en-US" sz="2000" dirty="0">
              <a:latin typeface="Cambria" panose="02040503050406030204" pitchFamily="18" charset="0"/>
            </a:rPr>
            <a:t>Health Nurturance &amp; Transformation Hub</a:t>
          </a:r>
        </a:p>
      </dgm:t>
    </dgm:pt>
    <dgm:pt modelId="{2AA37DAB-71EF-4989-92FA-48AA36608499}" type="parTrans" cxnId="{463E4D6D-4BE6-4E40-96FB-323AC8745593}">
      <dgm:prSet/>
      <dgm:spPr/>
      <dgm:t>
        <a:bodyPr/>
        <a:lstStyle/>
        <a:p>
          <a:endParaRPr lang="en-US" sz="2000">
            <a:latin typeface="Cambria" panose="02040503050406030204" pitchFamily="18" charset="0"/>
          </a:endParaRPr>
        </a:p>
      </dgm:t>
    </dgm:pt>
    <dgm:pt modelId="{30F916A7-DD12-4DE5-AD8A-82F902226CF9}" type="sibTrans" cxnId="{463E4D6D-4BE6-4E40-96FB-323AC8745593}">
      <dgm:prSet/>
      <dgm:spPr/>
      <dgm:t>
        <a:bodyPr/>
        <a:lstStyle/>
        <a:p>
          <a:endParaRPr lang="en-US" sz="2000">
            <a:latin typeface="Cambria" panose="02040503050406030204" pitchFamily="18" charset="0"/>
          </a:endParaRPr>
        </a:p>
      </dgm:t>
    </dgm:pt>
    <dgm:pt modelId="{A4240131-335E-4216-A6E9-EE3FA3EC1498}">
      <dgm:prSet phldrT="[Text]" custT="1"/>
      <dgm:spPr/>
      <dgm:t>
        <a:bodyPr/>
        <a:lstStyle/>
        <a:p>
          <a:r>
            <a:rPr lang="en-US" sz="2000" dirty="0">
              <a:latin typeface="Cambria" panose="02040503050406030204" pitchFamily="18" charset="0"/>
            </a:rPr>
            <a:t>Assuring Data Quality and Quantity management</a:t>
          </a:r>
        </a:p>
      </dgm:t>
    </dgm:pt>
    <dgm:pt modelId="{22C62620-E01B-412B-9A81-010CFAED2896}" type="parTrans" cxnId="{46148CAA-A917-464E-9C1F-403664F99BD2}">
      <dgm:prSet/>
      <dgm:spPr/>
      <dgm:t>
        <a:bodyPr/>
        <a:lstStyle/>
        <a:p>
          <a:endParaRPr lang="en-US" sz="2000">
            <a:latin typeface="Cambria" panose="02040503050406030204" pitchFamily="18" charset="0"/>
          </a:endParaRPr>
        </a:p>
      </dgm:t>
    </dgm:pt>
    <dgm:pt modelId="{6ED28A27-885C-431E-BA64-7B16FDCE9FA1}" type="sibTrans" cxnId="{46148CAA-A917-464E-9C1F-403664F99BD2}">
      <dgm:prSet/>
      <dgm:spPr/>
      <dgm:t>
        <a:bodyPr/>
        <a:lstStyle/>
        <a:p>
          <a:endParaRPr lang="en-US" sz="2000">
            <a:latin typeface="Cambria" panose="02040503050406030204" pitchFamily="18" charset="0"/>
          </a:endParaRPr>
        </a:p>
      </dgm:t>
    </dgm:pt>
    <dgm:pt modelId="{C4CFEA7C-5748-49A4-803B-B65BE3E3A28C}">
      <dgm:prSet phldrT="[Text]" custT="1"/>
      <dgm:spPr/>
      <dgm:t>
        <a:bodyPr/>
        <a:lstStyle/>
        <a:p>
          <a:r>
            <a:rPr lang="en-US" sz="2000" dirty="0">
              <a:latin typeface="Cambria" panose="02040503050406030204" pitchFamily="18" charset="0"/>
            </a:rPr>
            <a:t>Beneficiary level verification</a:t>
          </a:r>
        </a:p>
      </dgm:t>
    </dgm:pt>
    <dgm:pt modelId="{D0821B82-C7D8-4823-A9EC-FB9B49D0C432}" type="parTrans" cxnId="{87EAFBCA-FF61-4E3B-A3AE-6A921A3CCBE4}">
      <dgm:prSet/>
      <dgm:spPr/>
      <dgm:t>
        <a:bodyPr/>
        <a:lstStyle/>
        <a:p>
          <a:endParaRPr lang="en-US" sz="2000">
            <a:latin typeface="Cambria" panose="02040503050406030204" pitchFamily="18" charset="0"/>
          </a:endParaRPr>
        </a:p>
      </dgm:t>
    </dgm:pt>
    <dgm:pt modelId="{361101C9-05EA-4EB3-97E8-8BA596A1F9E8}" type="sibTrans" cxnId="{87EAFBCA-FF61-4E3B-A3AE-6A921A3CCBE4}">
      <dgm:prSet/>
      <dgm:spPr/>
      <dgm:t>
        <a:bodyPr/>
        <a:lstStyle/>
        <a:p>
          <a:endParaRPr lang="en-US" sz="2000">
            <a:latin typeface="Cambria" panose="02040503050406030204" pitchFamily="18" charset="0"/>
          </a:endParaRPr>
        </a:p>
      </dgm:t>
    </dgm:pt>
    <dgm:pt modelId="{163FAC27-5C26-4EB4-885B-2A5549B721C6}">
      <dgm:prSet phldrT="[Text]" custT="1"/>
      <dgm:spPr/>
      <dgm:t>
        <a:bodyPr/>
        <a:lstStyle/>
        <a:p>
          <a:r>
            <a:rPr lang="en-US" sz="2000" dirty="0">
              <a:latin typeface="Cambria" panose="02040503050406030204" pitchFamily="18" charset="0"/>
            </a:rPr>
            <a:t>High Risk Pregnancy Tracking and Management</a:t>
          </a:r>
        </a:p>
      </dgm:t>
    </dgm:pt>
    <dgm:pt modelId="{65C4862F-3C40-4CE8-97BA-8CD1F696BA9F}" type="parTrans" cxnId="{226F9D95-00DE-4F72-989F-C59A35535EA3}">
      <dgm:prSet/>
      <dgm:spPr/>
      <dgm:t>
        <a:bodyPr/>
        <a:lstStyle/>
        <a:p>
          <a:endParaRPr lang="en-US" sz="2000">
            <a:latin typeface="Cambria" panose="02040503050406030204" pitchFamily="18" charset="0"/>
          </a:endParaRPr>
        </a:p>
      </dgm:t>
    </dgm:pt>
    <dgm:pt modelId="{FE1970F0-46E6-43F0-958E-7B3A8427639B}" type="sibTrans" cxnId="{226F9D95-00DE-4F72-989F-C59A35535EA3}">
      <dgm:prSet/>
      <dgm:spPr/>
      <dgm:t>
        <a:bodyPr/>
        <a:lstStyle/>
        <a:p>
          <a:endParaRPr lang="en-US" sz="2000">
            <a:latin typeface="Cambria" panose="02040503050406030204" pitchFamily="18" charset="0"/>
          </a:endParaRPr>
        </a:p>
      </dgm:t>
    </dgm:pt>
    <dgm:pt modelId="{1C160DE0-154A-41E7-A4B3-07C2C58EA8B8}">
      <dgm:prSet phldrT="[Text]" custT="1"/>
      <dgm:spPr/>
      <dgm:t>
        <a:bodyPr/>
        <a:lstStyle/>
        <a:p>
          <a:r>
            <a:rPr lang="en-US" sz="2000" dirty="0">
              <a:latin typeface="Cambria" panose="02040503050406030204" pitchFamily="18" charset="0"/>
            </a:rPr>
            <a:t>Ensuring accountability through geo tagging </a:t>
          </a:r>
        </a:p>
      </dgm:t>
    </dgm:pt>
    <dgm:pt modelId="{7F34C0F7-3C20-46D0-B94B-50ED4B37B1AD}" type="parTrans" cxnId="{23F3A584-264B-4EF4-812D-561F5A17AC12}">
      <dgm:prSet/>
      <dgm:spPr/>
      <dgm:t>
        <a:bodyPr/>
        <a:lstStyle/>
        <a:p>
          <a:endParaRPr lang="en-US" sz="2000">
            <a:latin typeface="Cambria" panose="02040503050406030204" pitchFamily="18" charset="0"/>
          </a:endParaRPr>
        </a:p>
      </dgm:t>
    </dgm:pt>
    <dgm:pt modelId="{6FDA9C8B-002A-4496-AEB6-9CA1035BD76D}" type="sibTrans" cxnId="{23F3A584-264B-4EF4-812D-561F5A17AC12}">
      <dgm:prSet/>
      <dgm:spPr/>
      <dgm:t>
        <a:bodyPr/>
        <a:lstStyle/>
        <a:p>
          <a:endParaRPr lang="en-US" sz="2000">
            <a:latin typeface="Cambria" panose="02040503050406030204" pitchFamily="18" charset="0"/>
          </a:endParaRPr>
        </a:p>
      </dgm:t>
    </dgm:pt>
    <dgm:pt modelId="{3565EC76-9839-4803-A29E-AC6E917F5878}">
      <dgm:prSet phldrT="[Text]" custT="1"/>
      <dgm:spPr/>
      <dgm:t>
        <a:bodyPr/>
        <a:lstStyle/>
        <a:p>
          <a:r>
            <a:rPr lang="en-US" sz="2000" dirty="0">
              <a:latin typeface="Cambria" panose="02040503050406030204" pitchFamily="18" charset="0"/>
            </a:rPr>
            <a:t>Ensuring Appropriate and informed Referral</a:t>
          </a:r>
        </a:p>
      </dgm:t>
    </dgm:pt>
    <dgm:pt modelId="{D9C3D487-25F4-492A-9165-A21E2071AEB6}" type="parTrans" cxnId="{36AF195B-A6DB-4133-AC95-9B3B4232631E}">
      <dgm:prSet/>
      <dgm:spPr/>
      <dgm:t>
        <a:bodyPr/>
        <a:lstStyle/>
        <a:p>
          <a:endParaRPr lang="en-US" sz="2000">
            <a:latin typeface="Cambria" panose="02040503050406030204" pitchFamily="18" charset="0"/>
          </a:endParaRPr>
        </a:p>
      </dgm:t>
    </dgm:pt>
    <dgm:pt modelId="{D04894C7-4E0B-4090-83D4-7679E7A0B533}" type="sibTrans" cxnId="{36AF195B-A6DB-4133-AC95-9B3B4232631E}">
      <dgm:prSet/>
      <dgm:spPr/>
      <dgm:t>
        <a:bodyPr/>
        <a:lstStyle/>
        <a:p>
          <a:endParaRPr lang="en-US" sz="2000">
            <a:latin typeface="Cambria" panose="02040503050406030204" pitchFamily="18" charset="0"/>
          </a:endParaRPr>
        </a:p>
      </dgm:t>
    </dgm:pt>
    <dgm:pt modelId="{49FC1866-3AD3-43C1-BFCB-F6D24313FAE5}">
      <dgm:prSet phldrT="[Text]" custT="1"/>
      <dgm:spPr/>
      <dgm:t>
        <a:bodyPr/>
        <a:lstStyle/>
        <a:p>
          <a:r>
            <a:rPr lang="en-US" sz="2000" dirty="0">
              <a:latin typeface="Cambria" panose="02040503050406030204" pitchFamily="18" charset="0"/>
            </a:rPr>
            <a:t>Health worker skills assessment</a:t>
          </a:r>
        </a:p>
      </dgm:t>
    </dgm:pt>
    <dgm:pt modelId="{EFD0D1D1-E4CD-4F90-8059-3BF175CBEE9F}" type="parTrans" cxnId="{72A6C71A-B359-4126-97E0-94AA29A1D53F}">
      <dgm:prSet/>
      <dgm:spPr/>
      <dgm:t>
        <a:bodyPr/>
        <a:lstStyle/>
        <a:p>
          <a:endParaRPr lang="en-US" sz="2000">
            <a:latin typeface="Cambria" panose="02040503050406030204" pitchFamily="18" charset="0"/>
          </a:endParaRPr>
        </a:p>
      </dgm:t>
    </dgm:pt>
    <dgm:pt modelId="{486E699E-9A41-45E5-B63D-B79AA49CC23C}" type="sibTrans" cxnId="{72A6C71A-B359-4126-97E0-94AA29A1D53F}">
      <dgm:prSet/>
      <dgm:spPr/>
      <dgm:t>
        <a:bodyPr/>
        <a:lstStyle/>
        <a:p>
          <a:endParaRPr lang="en-US" sz="2000">
            <a:latin typeface="Cambria" panose="02040503050406030204" pitchFamily="18" charset="0"/>
          </a:endParaRPr>
        </a:p>
      </dgm:t>
    </dgm:pt>
    <dgm:pt modelId="{270223A8-8EB6-44B3-BF8B-0358A6017BDD}" type="pres">
      <dgm:prSet presAssocID="{7590B501-5A48-4E2C-B3C3-E374FF6698B2}" presName="Name0" presStyleCnt="0">
        <dgm:presLayoutVars>
          <dgm:chMax val="1"/>
          <dgm:chPref val="1"/>
          <dgm:dir/>
          <dgm:animOne val="branch"/>
          <dgm:animLvl val="lvl"/>
        </dgm:presLayoutVars>
      </dgm:prSet>
      <dgm:spPr/>
    </dgm:pt>
    <dgm:pt modelId="{2D9BCC68-0384-42A5-A50F-B67F372ED19F}" type="pres">
      <dgm:prSet presAssocID="{7C8A3B54-1860-47C1-9EF8-E19F65234E15}" presName="Parent" presStyleLbl="node0" presStyleIdx="0" presStyleCnt="1">
        <dgm:presLayoutVars>
          <dgm:chMax val="6"/>
          <dgm:chPref val="6"/>
        </dgm:presLayoutVars>
      </dgm:prSet>
      <dgm:spPr/>
    </dgm:pt>
    <dgm:pt modelId="{5CAF1D1C-979D-43A4-BA56-C9B3D24A7265}" type="pres">
      <dgm:prSet presAssocID="{A4240131-335E-4216-A6E9-EE3FA3EC1498}" presName="Accent1" presStyleCnt="0"/>
      <dgm:spPr/>
    </dgm:pt>
    <dgm:pt modelId="{35D4A01A-8B2D-40A5-82DD-888D14FD7FF0}" type="pres">
      <dgm:prSet presAssocID="{A4240131-335E-4216-A6E9-EE3FA3EC1498}" presName="Accent" presStyleLbl="bgShp" presStyleIdx="0" presStyleCnt="6"/>
      <dgm:spPr/>
    </dgm:pt>
    <dgm:pt modelId="{D993FBDA-5458-45AB-8B3E-C4922D09EF10}" type="pres">
      <dgm:prSet presAssocID="{A4240131-335E-4216-A6E9-EE3FA3EC1498}" presName="Child1" presStyleLbl="node1" presStyleIdx="0" presStyleCnt="6">
        <dgm:presLayoutVars>
          <dgm:chMax val="0"/>
          <dgm:chPref val="0"/>
          <dgm:bulletEnabled val="1"/>
        </dgm:presLayoutVars>
      </dgm:prSet>
      <dgm:spPr/>
    </dgm:pt>
    <dgm:pt modelId="{A83D7367-1509-4D25-9669-2E1781F2EB17}" type="pres">
      <dgm:prSet presAssocID="{C4CFEA7C-5748-49A4-803B-B65BE3E3A28C}" presName="Accent2" presStyleCnt="0"/>
      <dgm:spPr/>
    </dgm:pt>
    <dgm:pt modelId="{B50A6AE1-167E-4399-ACB4-483EE3132D05}" type="pres">
      <dgm:prSet presAssocID="{C4CFEA7C-5748-49A4-803B-B65BE3E3A28C}" presName="Accent" presStyleLbl="bgShp" presStyleIdx="1" presStyleCnt="6"/>
      <dgm:spPr/>
    </dgm:pt>
    <dgm:pt modelId="{827E1CEE-1355-4B5D-BC0D-BD5DC7B7799E}" type="pres">
      <dgm:prSet presAssocID="{C4CFEA7C-5748-49A4-803B-B65BE3E3A28C}" presName="Child2" presStyleLbl="node1" presStyleIdx="1" presStyleCnt="6">
        <dgm:presLayoutVars>
          <dgm:chMax val="0"/>
          <dgm:chPref val="0"/>
          <dgm:bulletEnabled val="1"/>
        </dgm:presLayoutVars>
      </dgm:prSet>
      <dgm:spPr/>
    </dgm:pt>
    <dgm:pt modelId="{78B86CF1-1424-473E-B7A7-05ECCFB34B46}" type="pres">
      <dgm:prSet presAssocID="{163FAC27-5C26-4EB4-885B-2A5549B721C6}" presName="Accent3" presStyleCnt="0"/>
      <dgm:spPr/>
    </dgm:pt>
    <dgm:pt modelId="{42ADC5B4-68EF-4444-9DC4-9D9CD5819700}" type="pres">
      <dgm:prSet presAssocID="{163FAC27-5C26-4EB4-885B-2A5549B721C6}" presName="Accent" presStyleLbl="bgShp" presStyleIdx="2" presStyleCnt="6"/>
      <dgm:spPr/>
    </dgm:pt>
    <dgm:pt modelId="{A913707F-3EC4-495C-982E-A44A6567B047}" type="pres">
      <dgm:prSet presAssocID="{163FAC27-5C26-4EB4-885B-2A5549B721C6}" presName="Child3" presStyleLbl="node1" presStyleIdx="2" presStyleCnt="6">
        <dgm:presLayoutVars>
          <dgm:chMax val="0"/>
          <dgm:chPref val="0"/>
          <dgm:bulletEnabled val="1"/>
        </dgm:presLayoutVars>
      </dgm:prSet>
      <dgm:spPr/>
    </dgm:pt>
    <dgm:pt modelId="{F3421A7D-A243-4E08-9C03-6A4CC6010485}" type="pres">
      <dgm:prSet presAssocID="{1C160DE0-154A-41E7-A4B3-07C2C58EA8B8}" presName="Accent4" presStyleCnt="0"/>
      <dgm:spPr/>
    </dgm:pt>
    <dgm:pt modelId="{7E4D6DDB-94E7-45D0-9F3D-EF99A8191D04}" type="pres">
      <dgm:prSet presAssocID="{1C160DE0-154A-41E7-A4B3-07C2C58EA8B8}" presName="Accent" presStyleLbl="bgShp" presStyleIdx="3" presStyleCnt="6"/>
      <dgm:spPr/>
    </dgm:pt>
    <dgm:pt modelId="{FE01B487-9FA4-4ADD-BA44-E3FFD14E987A}" type="pres">
      <dgm:prSet presAssocID="{1C160DE0-154A-41E7-A4B3-07C2C58EA8B8}" presName="Child4" presStyleLbl="node1" presStyleIdx="3" presStyleCnt="6">
        <dgm:presLayoutVars>
          <dgm:chMax val="0"/>
          <dgm:chPref val="0"/>
          <dgm:bulletEnabled val="1"/>
        </dgm:presLayoutVars>
      </dgm:prSet>
      <dgm:spPr/>
    </dgm:pt>
    <dgm:pt modelId="{7AA90981-81B9-434F-9D09-2614520FC213}" type="pres">
      <dgm:prSet presAssocID="{3565EC76-9839-4803-A29E-AC6E917F5878}" presName="Accent5" presStyleCnt="0"/>
      <dgm:spPr/>
    </dgm:pt>
    <dgm:pt modelId="{A1D2A65A-67C3-4C82-B724-7E9935ABDD0D}" type="pres">
      <dgm:prSet presAssocID="{3565EC76-9839-4803-A29E-AC6E917F5878}" presName="Accent" presStyleLbl="bgShp" presStyleIdx="4" presStyleCnt="6"/>
      <dgm:spPr/>
    </dgm:pt>
    <dgm:pt modelId="{797777B7-03CC-4670-BB4F-6549E880941A}" type="pres">
      <dgm:prSet presAssocID="{3565EC76-9839-4803-A29E-AC6E917F5878}" presName="Child5" presStyleLbl="node1" presStyleIdx="4" presStyleCnt="6">
        <dgm:presLayoutVars>
          <dgm:chMax val="0"/>
          <dgm:chPref val="0"/>
          <dgm:bulletEnabled val="1"/>
        </dgm:presLayoutVars>
      </dgm:prSet>
      <dgm:spPr/>
    </dgm:pt>
    <dgm:pt modelId="{7E2254CA-4C05-4A30-9D8F-0F7E7AB8852D}" type="pres">
      <dgm:prSet presAssocID="{49FC1866-3AD3-43C1-BFCB-F6D24313FAE5}" presName="Accent6" presStyleCnt="0"/>
      <dgm:spPr/>
    </dgm:pt>
    <dgm:pt modelId="{1AE48C66-6BC3-4FAA-9511-253248F5CA83}" type="pres">
      <dgm:prSet presAssocID="{49FC1866-3AD3-43C1-BFCB-F6D24313FAE5}" presName="Accent" presStyleLbl="bgShp" presStyleIdx="5" presStyleCnt="6"/>
      <dgm:spPr/>
    </dgm:pt>
    <dgm:pt modelId="{5A2FA431-4159-46EE-B954-BEC9A28B3AEE}" type="pres">
      <dgm:prSet presAssocID="{49FC1866-3AD3-43C1-BFCB-F6D24313FAE5}" presName="Child6" presStyleLbl="node1" presStyleIdx="5" presStyleCnt="6">
        <dgm:presLayoutVars>
          <dgm:chMax val="0"/>
          <dgm:chPref val="0"/>
          <dgm:bulletEnabled val="1"/>
        </dgm:presLayoutVars>
      </dgm:prSet>
      <dgm:spPr/>
    </dgm:pt>
  </dgm:ptLst>
  <dgm:cxnLst>
    <dgm:cxn modelId="{72A6C71A-B359-4126-97E0-94AA29A1D53F}" srcId="{7C8A3B54-1860-47C1-9EF8-E19F65234E15}" destId="{49FC1866-3AD3-43C1-BFCB-F6D24313FAE5}" srcOrd="5" destOrd="0" parTransId="{EFD0D1D1-E4CD-4F90-8059-3BF175CBEE9F}" sibTransId="{486E699E-9A41-45E5-B63D-B79AA49CC23C}"/>
    <dgm:cxn modelId="{36AF195B-A6DB-4133-AC95-9B3B4232631E}" srcId="{7C8A3B54-1860-47C1-9EF8-E19F65234E15}" destId="{3565EC76-9839-4803-A29E-AC6E917F5878}" srcOrd="4" destOrd="0" parTransId="{D9C3D487-25F4-492A-9165-A21E2071AEB6}" sibTransId="{D04894C7-4E0B-4090-83D4-7679E7A0B533}"/>
    <dgm:cxn modelId="{463E4D6D-4BE6-4E40-96FB-323AC8745593}" srcId="{7590B501-5A48-4E2C-B3C3-E374FF6698B2}" destId="{7C8A3B54-1860-47C1-9EF8-E19F65234E15}" srcOrd="0" destOrd="0" parTransId="{2AA37DAB-71EF-4989-92FA-48AA36608499}" sibTransId="{30F916A7-DD12-4DE5-AD8A-82F902226CF9}"/>
    <dgm:cxn modelId="{DFAEF97D-0773-4A9F-ABF1-118F8495BA7C}" type="presOf" srcId="{3565EC76-9839-4803-A29E-AC6E917F5878}" destId="{797777B7-03CC-4670-BB4F-6549E880941A}" srcOrd="0" destOrd="0" presId="urn:microsoft.com/office/officeart/2011/layout/HexagonRadial"/>
    <dgm:cxn modelId="{A22C527E-79B0-4D3D-91E3-855B9193E002}" type="presOf" srcId="{163FAC27-5C26-4EB4-885B-2A5549B721C6}" destId="{A913707F-3EC4-495C-982E-A44A6567B047}" srcOrd="0" destOrd="0" presId="urn:microsoft.com/office/officeart/2011/layout/HexagonRadial"/>
    <dgm:cxn modelId="{23F3A584-264B-4EF4-812D-561F5A17AC12}" srcId="{7C8A3B54-1860-47C1-9EF8-E19F65234E15}" destId="{1C160DE0-154A-41E7-A4B3-07C2C58EA8B8}" srcOrd="3" destOrd="0" parTransId="{7F34C0F7-3C20-46D0-B94B-50ED4B37B1AD}" sibTransId="{6FDA9C8B-002A-4496-AEB6-9CA1035BD76D}"/>
    <dgm:cxn modelId="{FD1F9C85-F9C4-410A-A7B6-A71108592F89}" type="presOf" srcId="{C4CFEA7C-5748-49A4-803B-B65BE3E3A28C}" destId="{827E1CEE-1355-4B5D-BC0D-BD5DC7B7799E}" srcOrd="0" destOrd="0" presId="urn:microsoft.com/office/officeart/2011/layout/HexagonRadial"/>
    <dgm:cxn modelId="{226F9D95-00DE-4F72-989F-C59A35535EA3}" srcId="{7C8A3B54-1860-47C1-9EF8-E19F65234E15}" destId="{163FAC27-5C26-4EB4-885B-2A5549B721C6}" srcOrd="2" destOrd="0" parTransId="{65C4862F-3C40-4CE8-97BA-8CD1F696BA9F}" sibTransId="{FE1970F0-46E6-43F0-958E-7B3A8427639B}"/>
    <dgm:cxn modelId="{30E83D9F-49D4-4CDE-B94F-9BEF0FB17074}" type="presOf" srcId="{7C8A3B54-1860-47C1-9EF8-E19F65234E15}" destId="{2D9BCC68-0384-42A5-A50F-B67F372ED19F}" srcOrd="0" destOrd="0" presId="urn:microsoft.com/office/officeart/2011/layout/HexagonRadial"/>
    <dgm:cxn modelId="{46148CAA-A917-464E-9C1F-403664F99BD2}" srcId="{7C8A3B54-1860-47C1-9EF8-E19F65234E15}" destId="{A4240131-335E-4216-A6E9-EE3FA3EC1498}" srcOrd="0" destOrd="0" parTransId="{22C62620-E01B-412B-9A81-010CFAED2896}" sibTransId="{6ED28A27-885C-431E-BA64-7B16FDCE9FA1}"/>
    <dgm:cxn modelId="{3DE929AD-BA43-41C9-9B0F-8B4246756DE7}" type="presOf" srcId="{1C160DE0-154A-41E7-A4B3-07C2C58EA8B8}" destId="{FE01B487-9FA4-4ADD-BA44-E3FFD14E987A}" srcOrd="0" destOrd="0" presId="urn:microsoft.com/office/officeart/2011/layout/HexagonRadial"/>
    <dgm:cxn modelId="{F2E711BC-479E-4E0B-B124-C62A80C9EF63}" type="presOf" srcId="{7590B501-5A48-4E2C-B3C3-E374FF6698B2}" destId="{270223A8-8EB6-44B3-BF8B-0358A6017BDD}" srcOrd="0" destOrd="0" presId="urn:microsoft.com/office/officeart/2011/layout/HexagonRadial"/>
    <dgm:cxn modelId="{87EAFBCA-FF61-4E3B-A3AE-6A921A3CCBE4}" srcId="{7C8A3B54-1860-47C1-9EF8-E19F65234E15}" destId="{C4CFEA7C-5748-49A4-803B-B65BE3E3A28C}" srcOrd="1" destOrd="0" parTransId="{D0821B82-C7D8-4823-A9EC-FB9B49D0C432}" sibTransId="{361101C9-05EA-4EB3-97E8-8BA596A1F9E8}"/>
    <dgm:cxn modelId="{FC561AD9-46AD-4D9A-8912-1F7B93186C04}" type="presOf" srcId="{A4240131-335E-4216-A6E9-EE3FA3EC1498}" destId="{D993FBDA-5458-45AB-8B3E-C4922D09EF10}" srcOrd="0" destOrd="0" presId="urn:microsoft.com/office/officeart/2011/layout/HexagonRadial"/>
    <dgm:cxn modelId="{4C0D86EB-9FDB-4D88-87C8-4D55828E2425}" type="presOf" srcId="{49FC1866-3AD3-43C1-BFCB-F6D24313FAE5}" destId="{5A2FA431-4159-46EE-B954-BEC9A28B3AEE}" srcOrd="0" destOrd="0" presId="urn:microsoft.com/office/officeart/2011/layout/HexagonRadial"/>
    <dgm:cxn modelId="{BD548782-7EC9-44AB-90FB-CB6F0B77EE3B}" type="presParOf" srcId="{270223A8-8EB6-44B3-BF8B-0358A6017BDD}" destId="{2D9BCC68-0384-42A5-A50F-B67F372ED19F}" srcOrd="0" destOrd="0" presId="urn:microsoft.com/office/officeart/2011/layout/HexagonRadial"/>
    <dgm:cxn modelId="{73E8F4F1-9EB0-47A6-B6E7-8C5AB0302293}" type="presParOf" srcId="{270223A8-8EB6-44B3-BF8B-0358A6017BDD}" destId="{5CAF1D1C-979D-43A4-BA56-C9B3D24A7265}" srcOrd="1" destOrd="0" presId="urn:microsoft.com/office/officeart/2011/layout/HexagonRadial"/>
    <dgm:cxn modelId="{14C5ED6F-6BC8-4806-8892-0C34F1E5923A}" type="presParOf" srcId="{5CAF1D1C-979D-43A4-BA56-C9B3D24A7265}" destId="{35D4A01A-8B2D-40A5-82DD-888D14FD7FF0}" srcOrd="0" destOrd="0" presId="urn:microsoft.com/office/officeart/2011/layout/HexagonRadial"/>
    <dgm:cxn modelId="{D6378E5C-2208-4641-88DB-C7CA41547874}" type="presParOf" srcId="{270223A8-8EB6-44B3-BF8B-0358A6017BDD}" destId="{D993FBDA-5458-45AB-8B3E-C4922D09EF10}" srcOrd="2" destOrd="0" presId="urn:microsoft.com/office/officeart/2011/layout/HexagonRadial"/>
    <dgm:cxn modelId="{87A14677-E9AF-4254-ABFC-573BC38DD6EB}" type="presParOf" srcId="{270223A8-8EB6-44B3-BF8B-0358A6017BDD}" destId="{A83D7367-1509-4D25-9669-2E1781F2EB17}" srcOrd="3" destOrd="0" presId="urn:microsoft.com/office/officeart/2011/layout/HexagonRadial"/>
    <dgm:cxn modelId="{D0DAF5F5-8FD7-4360-8AD8-84ED67646330}" type="presParOf" srcId="{A83D7367-1509-4D25-9669-2E1781F2EB17}" destId="{B50A6AE1-167E-4399-ACB4-483EE3132D05}" srcOrd="0" destOrd="0" presId="urn:microsoft.com/office/officeart/2011/layout/HexagonRadial"/>
    <dgm:cxn modelId="{46F60524-5602-4B49-80B7-1CEC9FEFE4CE}" type="presParOf" srcId="{270223A8-8EB6-44B3-BF8B-0358A6017BDD}" destId="{827E1CEE-1355-4B5D-BC0D-BD5DC7B7799E}" srcOrd="4" destOrd="0" presId="urn:microsoft.com/office/officeart/2011/layout/HexagonRadial"/>
    <dgm:cxn modelId="{271C68DC-57A5-49C7-A76A-42032DE814A7}" type="presParOf" srcId="{270223A8-8EB6-44B3-BF8B-0358A6017BDD}" destId="{78B86CF1-1424-473E-B7A7-05ECCFB34B46}" srcOrd="5" destOrd="0" presId="urn:microsoft.com/office/officeart/2011/layout/HexagonRadial"/>
    <dgm:cxn modelId="{111658FA-F849-465A-90E5-85914DB2E8E8}" type="presParOf" srcId="{78B86CF1-1424-473E-B7A7-05ECCFB34B46}" destId="{42ADC5B4-68EF-4444-9DC4-9D9CD5819700}" srcOrd="0" destOrd="0" presId="urn:microsoft.com/office/officeart/2011/layout/HexagonRadial"/>
    <dgm:cxn modelId="{96C4994B-F3F2-4B53-8934-2D2378F9A47F}" type="presParOf" srcId="{270223A8-8EB6-44B3-BF8B-0358A6017BDD}" destId="{A913707F-3EC4-495C-982E-A44A6567B047}" srcOrd="6" destOrd="0" presId="urn:microsoft.com/office/officeart/2011/layout/HexagonRadial"/>
    <dgm:cxn modelId="{1FD0F0D7-EA7B-4589-BACD-56F955110735}" type="presParOf" srcId="{270223A8-8EB6-44B3-BF8B-0358A6017BDD}" destId="{F3421A7D-A243-4E08-9C03-6A4CC6010485}" srcOrd="7" destOrd="0" presId="urn:microsoft.com/office/officeart/2011/layout/HexagonRadial"/>
    <dgm:cxn modelId="{95555A17-4161-43D7-AFD0-968EF0A113B1}" type="presParOf" srcId="{F3421A7D-A243-4E08-9C03-6A4CC6010485}" destId="{7E4D6DDB-94E7-45D0-9F3D-EF99A8191D04}" srcOrd="0" destOrd="0" presId="urn:microsoft.com/office/officeart/2011/layout/HexagonRadial"/>
    <dgm:cxn modelId="{6BF20422-3E01-4D9E-B6EC-D3EA5DB9811B}" type="presParOf" srcId="{270223A8-8EB6-44B3-BF8B-0358A6017BDD}" destId="{FE01B487-9FA4-4ADD-BA44-E3FFD14E987A}" srcOrd="8" destOrd="0" presId="urn:microsoft.com/office/officeart/2011/layout/HexagonRadial"/>
    <dgm:cxn modelId="{80D7F7D2-4768-49E9-99B7-5A14D566A859}" type="presParOf" srcId="{270223A8-8EB6-44B3-BF8B-0358A6017BDD}" destId="{7AA90981-81B9-434F-9D09-2614520FC213}" srcOrd="9" destOrd="0" presId="urn:microsoft.com/office/officeart/2011/layout/HexagonRadial"/>
    <dgm:cxn modelId="{92F6CA4C-205C-4A6D-BA4E-574AF389BE79}" type="presParOf" srcId="{7AA90981-81B9-434F-9D09-2614520FC213}" destId="{A1D2A65A-67C3-4C82-B724-7E9935ABDD0D}" srcOrd="0" destOrd="0" presId="urn:microsoft.com/office/officeart/2011/layout/HexagonRadial"/>
    <dgm:cxn modelId="{9175DCF4-39B2-4829-A092-C85025C208F8}" type="presParOf" srcId="{270223A8-8EB6-44B3-BF8B-0358A6017BDD}" destId="{797777B7-03CC-4670-BB4F-6549E880941A}" srcOrd="10" destOrd="0" presId="urn:microsoft.com/office/officeart/2011/layout/HexagonRadial"/>
    <dgm:cxn modelId="{E1582EDD-6804-4F9F-8D0F-55E40F8B36DE}" type="presParOf" srcId="{270223A8-8EB6-44B3-BF8B-0358A6017BDD}" destId="{7E2254CA-4C05-4A30-9D8F-0F7E7AB8852D}" srcOrd="11" destOrd="0" presId="urn:microsoft.com/office/officeart/2011/layout/HexagonRadial"/>
    <dgm:cxn modelId="{03D2FED9-32BC-43A3-BA8E-34A16655009C}" type="presParOf" srcId="{7E2254CA-4C05-4A30-9D8F-0F7E7AB8852D}" destId="{1AE48C66-6BC3-4FAA-9511-253248F5CA83}" srcOrd="0" destOrd="0" presId="urn:microsoft.com/office/officeart/2011/layout/HexagonRadial"/>
    <dgm:cxn modelId="{0005F645-76F0-4AAF-BD82-EBB316814A61}" type="presParOf" srcId="{270223A8-8EB6-44B3-BF8B-0358A6017BDD}" destId="{5A2FA431-4159-46EE-B954-BEC9A28B3AEE}"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94E971F-1466-4822-A975-BEE5E2EDA1B6}" type="doc">
      <dgm:prSet loTypeId="urn:microsoft.com/office/officeart/2005/8/layout/vList6" loCatId="process" qsTypeId="urn:microsoft.com/office/officeart/2005/8/quickstyle/simple1" qsCatId="simple" csTypeId="urn:microsoft.com/office/officeart/2005/8/colors/colorful1" csCatId="colorful" phldr="1"/>
      <dgm:spPr/>
      <dgm:t>
        <a:bodyPr/>
        <a:lstStyle/>
        <a:p>
          <a:endParaRPr lang="en-US"/>
        </a:p>
      </dgm:t>
    </dgm:pt>
    <dgm:pt modelId="{55733CFA-7D27-4EED-93E9-F145D003BE41}">
      <dgm:prSet phldrT="[Text]" custT="1"/>
      <dgm:spPr/>
      <dgm:t>
        <a:bodyPr/>
        <a:lstStyle/>
        <a:p>
          <a:r>
            <a:rPr lang="en-US" sz="3200" dirty="0">
              <a:latin typeface="Cambria" panose="02040503050406030204" pitchFamily="18" charset="0"/>
            </a:rPr>
            <a:t>Front line workers</a:t>
          </a:r>
        </a:p>
      </dgm:t>
    </dgm:pt>
    <dgm:pt modelId="{027BB898-72DF-4E1F-8A8E-A76F11908395}" type="parTrans" cxnId="{0DD09898-40C3-4D95-A78A-741AD54FDAD9}">
      <dgm:prSet/>
      <dgm:spPr/>
      <dgm:t>
        <a:bodyPr/>
        <a:lstStyle/>
        <a:p>
          <a:endParaRPr lang="en-US" sz="4000">
            <a:latin typeface="Cambria" panose="02040503050406030204" pitchFamily="18" charset="0"/>
          </a:endParaRPr>
        </a:p>
      </dgm:t>
    </dgm:pt>
    <dgm:pt modelId="{A943322D-C083-4FB7-9FF5-95F6E96FAFA5}" type="sibTrans" cxnId="{0DD09898-40C3-4D95-A78A-741AD54FDAD9}">
      <dgm:prSet/>
      <dgm:spPr/>
      <dgm:t>
        <a:bodyPr/>
        <a:lstStyle/>
        <a:p>
          <a:endParaRPr lang="en-US" sz="4000">
            <a:latin typeface="Cambria" panose="02040503050406030204" pitchFamily="18" charset="0"/>
          </a:endParaRPr>
        </a:p>
      </dgm:t>
    </dgm:pt>
    <dgm:pt modelId="{8C0EBDA0-D5AB-4B31-8E15-3D4F5BAB6DCC}">
      <dgm:prSet phldrT="[Text]" custT="1"/>
      <dgm:spPr/>
      <dgm:t>
        <a:bodyPr/>
        <a:lstStyle/>
        <a:p>
          <a:pPr>
            <a:lnSpc>
              <a:spcPct val="150000"/>
            </a:lnSpc>
            <a:spcBef>
              <a:spcPts val="0"/>
            </a:spcBef>
            <a:spcAft>
              <a:spcPts val="0"/>
            </a:spcAft>
          </a:pPr>
          <a:r>
            <a:rPr lang="en-US" sz="2400" dirty="0">
              <a:latin typeface="Cambria" panose="02040503050406030204" pitchFamily="18" charset="0"/>
            </a:rPr>
            <a:t>10,793 FHWs (100%)</a:t>
          </a:r>
        </a:p>
      </dgm:t>
    </dgm:pt>
    <dgm:pt modelId="{C67A9CA0-A15E-40AB-A238-B2C244422EC1}" type="parTrans" cxnId="{F6E3EA65-7B12-4CF7-9E8D-A1B3FDE3A044}">
      <dgm:prSet/>
      <dgm:spPr/>
      <dgm:t>
        <a:bodyPr/>
        <a:lstStyle/>
        <a:p>
          <a:endParaRPr lang="en-US" sz="4000">
            <a:latin typeface="Cambria" panose="02040503050406030204" pitchFamily="18" charset="0"/>
          </a:endParaRPr>
        </a:p>
      </dgm:t>
    </dgm:pt>
    <dgm:pt modelId="{1DC33199-AAA1-4B89-A832-DBDD986EA458}" type="sibTrans" cxnId="{F6E3EA65-7B12-4CF7-9E8D-A1B3FDE3A044}">
      <dgm:prSet/>
      <dgm:spPr/>
      <dgm:t>
        <a:bodyPr/>
        <a:lstStyle/>
        <a:p>
          <a:endParaRPr lang="en-US" sz="4000">
            <a:latin typeface="Cambria" panose="02040503050406030204" pitchFamily="18" charset="0"/>
          </a:endParaRPr>
        </a:p>
      </dgm:t>
    </dgm:pt>
    <dgm:pt modelId="{6261FF26-E86C-489D-81C0-C7F25020B9DE}">
      <dgm:prSet phldrT="[Text]" custT="1"/>
      <dgm:spPr/>
      <dgm:t>
        <a:bodyPr/>
        <a:lstStyle/>
        <a:p>
          <a:r>
            <a:rPr lang="en-US" sz="3200" dirty="0">
              <a:latin typeface="Cambria" panose="02040503050406030204" pitchFamily="18" charset="0"/>
            </a:rPr>
            <a:t>Health Facilities</a:t>
          </a:r>
        </a:p>
      </dgm:t>
    </dgm:pt>
    <dgm:pt modelId="{62FEF921-1CED-4366-A4D5-7CF4C1D60519}" type="parTrans" cxnId="{BF93EA74-C8D1-46BA-BB64-135A2372A9FD}">
      <dgm:prSet/>
      <dgm:spPr/>
      <dgm:t>
        <a:bodyPr/>
        <a:lstStyle/>
        <a:p>
          <a:endParaRPr lang="en-US" sz="4000">
            <a:latin typeface="Cambria" panose="02040503050406030204" pitchFamily="18" charset="0"/>
          </a:endParaRPr>
        </a:p>
      </dgm:t>
    </dgm:pt>
    <dgm:pt modelId="{A2007CC2-4415-4C7E-A8CA-A234A75A47AA}" type="sibTrans" cxnId="{BF93EA74-C8D1-46BA-BB64-135A2372A9FD}">
      <dgm:prSet/>
      <dgm:spPr/>
      <dgm:t>
        <a:bodyPr/>
        <a:lstStyle/>
        <a:p>
          <a:endParaRPr lang="en-US" sz="4000">
            <a:latin typeface="Cambria" panose="02040503050406030204" pitchFamily="18" charset="0"/>
          </a:endParaRPr>
        </a:p>
      </dgm:t>
    </dgm:pt>
    <dgm:pt modelId="{BAEDF386-D9F3-4C24-A6BC-23EB6734B771}">
      <dgm:prSet phldrT="[Text]" custT="1"/>
      <dgm:spPr/>
      <dgm:t>
        <a:bodyPr/>
        <a:lstStyle/>
        <a:p>
          <a:pPr>
            <a:lnSpc>
              <a:spcPct val="150000"/>
            </a:lnSpc>
            <a:spcAft>
              <a:spcPts val="0"/>
            </a:spcAft>
          </a:pPr>
          <a:r>
            <a:rPr lang="en-US" sz="2400" dirty="0">
              <a:latin typeface="Cambria" panose="02040503050406030204" pitchFamily="18" charset="0"/>
            </a:rPr>
            <a:t>2219 Health facilities (100%)</a:t>
          </a:r>
        </a:p>
      </dgm:t>
    </dgm:pt>
    <dgm:pt modelId="{C88A17D5-B0C0-4611-BC62-99E6ADB29AC7}" type="parTrans" cxnId="{ABB104DA-091E-4842-99D7-6F847B78E9DB}">
      <dgm:prSet/>
      <dgm:spPr/>
      <dgm:t>
        <a:bodyPr/>
        <a:lstStyle/>
        <a:p>
          <a:endParaRPr lang="en-US" sz="4000">
            <a:latin typeface="Cambria" panose="02040503050406030204" pitchFamily="18" charset="0"/>
          </a:endParaRPr>
        </a:p>
      </dgm:t>
    </dgm:pt>
    <dgm:pt modelId="{23458BA8-D7E3-44EA-BD08-908C1B95B0FB}" type="sibTrans" cxnId="{ABB104DA-091E-4842-99D7-6F847B78E9DB}">
      <dgm:prSet/>
      <dgm:spPr/>
      <dgm:t>
        <a:bodyPr/>
        <a:lstStyle/>
        <a:p>
          <a:endParaRPr lang="en-US" sz="4000">
            <a:latin typeface="Cambria" panose="02040503050406030204" pitchFamily="18" charset="0"/>
          </a:endParaRPr>
        </a:p>
      </dgm:t>
    </dgm:pt>
    <dgm:pt modelId="{3C6B8312-5A1B-418B-93F2-3F56FB44107E}">
      <dgm:prSet custT="1"/>
      <dgm:spPr/>
      <dgm:t>
        <a:bodyPr/>
        <a:lstStyle/>
        <a:p>
          <a:r>
            <a:rPr lang="en-US" sz="3200" dirty="0">
              <a:latin typeface="Cambria" panose="02040503050406030204" pitchFamily="18" charset="0"/>
            </a:rPr>
            <a:t>Coverage</a:t>
          </a:r>
        </a:p>
      </dgm:t>
    </dgm:pt>
    <dgm:pt modelId="{533641B9-AECB-48A4-B8A2-2A56E538874D}" type="parTrans" cxnId="{8488A113-A257-4E86-9751-7B721EC557E5}">
      <dgm:prSet/>
      <dgm:spPr/>
      <dgm:t>
        <a:bodyPr/>
        <a:lstStyle/>
        <a:p>
          <a:endParaRPr lang="en-US" sz="4000">
            <a:latin typeface="Cambria" panose="02040503050406030204" pitchFamily="18" charset="0"/>
          </a:endParaRPr>
        </a:p>
      </dgm:t>
    </dgm:pt>
    <dgm:pt modelId="{1B82F60F-F402-45F8-A52B-519DF1CAAC9A}" type="sibTrans" cxnId="{8488A113-A257-4E86-9751-7B721EC557E5}">
      <dgm:prSet/>
      <dgm:spPr/>
      <dgm:t>
        <a:bodyPr/>
        <a:lstStyle/>
        <a:p>
          <a:endParaRPr lang="en-US" sz="4000">
            <a:latin typeface="Cambria" panose="02040503050406030204" pitchFamily="18" charset="0"/>
          </a:endParaRPr>
        </a:p>
      </dgm:t>
    </dgm:pt>
    <dgm:pt modelId="{F1D59274-0E11-4013-894F-4E9B1A8FB18D}">
      <dgm:prSet phldrT="[Text]" custT="1"/>
      <dgm:spPr/>
      <dgm:t>
        <a:bodyPr/>
        <a:lstStyle/>
        <a:p>
          <a:pPr>
            <a:lnSpc>
              <a:spcPct val="150000"/>
            </a:lnSpc>
            <a:spcBef>
              <a:spcPts val="0"/>
            </a:spcBef>
            <a:spcAft>
              <a:spcPts val="0"/>
            </a:spcAft>
          </a:pPr>
          <a:r>
            <a:rPr lang="en-US" sz="2400" dirty="0">
              <a:latin typeface="Cambria" panose="02040503050406030204" pitchFamily="18" charset="0"/>
            </a:rPr>
            <a:t>CHOs (100%)</a:t>
          </a:r>
        </a:p>
      </dgm:t>
    </dgm:pt>
    <dgm:pt modelId="{A9C1D7B2-5267-4684-AAA2-05947EE916ED}" type="parTrans" cxnId="{1EED3C19-E884-41F9-8F8D-30B9F58ABCA3}">
      <dgm:prSet/>
      <dgm:spPr/>
      <dgm:t>
        <a:bodyPr/>
        <a:lstStyle/>
        <a:p>
          <a:endParaRPr lang="en-US"/>
        </a:p>
      </dgm:t>
    </dgm:pt>
    <dgm:pt modelId="{B5DF4823-20FE-45F7-A539-41D675D366A9}" type="sibTrans" cxnId="{1EED3C19-E884-41F9-8F8D-30B9F58ABCA3}">
      <dgm:prSet/>
      <dgm:spPr/>
      <dgm:t>
        <a:bodyPr/>
        <a:lstStyle/>
        <a:p>
          <a:endParaRPr lang="en-US"/>
        </a:p>
      </dgm:t>
    </dgm:pt>
    <dgm:pt modelId="{9C50BDD7-CAF6-461C-B535-F89CBB30421F}">
      <dgm:prSet phldrT="[Text]" custT="1"/>
      <dgm:spPr/>
      <dgm:t>
        <a:bodyPr/>
        <a:lstStyle/>
        <a:p>
          <a:pPr>
            <a:lnSpc>
              <a:spcPct val="150000"/>
            </a:lnSpc>
            <a:spcBef>
              <a:spcPts val="0"/>
            </a:spcBef>
            <a:spcAft>
              <a:spcPts val="0"/>
            </a:spcAft>
          </a:pPr>
          <a:r>
            <a:rPr lang="en-US" sz="2400" dirty="0">
              <a:latin typeface="Cambria" panose="02040503050406030204" pitchFamily="18" charset="0"/>
            </a:rPr>
            <a:t>ASHAs (100%)</a:t>
          </a:r>
        </a:p>
      </dgm:t>
    </dgm:pt>
    <dgm:pt modelId="{FA1A78E9-42EE-44E8-861B-8EF6E5AE02A3}" type="parTrans" cxnId="{5E824443-5CA5-47A9-A79C-0E797108AD7C}">
      <dgm:prSet/>
      <dgm:spPr/>
      <dgm:t>
        <a:bodyPr/>
        <a:lstStyle/>
        <a:p>
          <a:endParaRPr lang="en-US"/>
        </a:p>
      </dgm:t>
    </dgm:pt>
    <dgm:pt modelId="{03232682-2CC2-4229-9E52-17F4F19099E2}" type="sibTrans" cxnId="{5E824443-5CA5-47A9-A79C-0E797108AD7C}">
      <dgm:prSet/>
      <dgm:spPr/>
      <dgm:t>
        <a:bodyPr/>
        <a:lstStyle/>
        <a:p>
          <a:endParaRPr lang="en-US"/>
        </a:p>
      </dgm:t>
    </dgm:pt>
    <dgm:pt modelId="{220E755A-E05D-4635-B5FE-F9B3C65F23BC}">
      <dgm:prSet phldrT="[Text]" custT="1"/>
      <dgm:spPr/>
      <dgm:t>
        <a:bodyPr/>
        <a:lstStyle/>
        <a:p>
          <a:pPr>
            <a:lnSpc>
              <a:spcPct val="150000"/>
            </a:lnSpc>
            <a:spcAft>
              <a:spcPts val="0"/>
            </a:spcAft>
          </a:pPr>
          <a:r>
            <a:rPr lang="en-US" sz="2400" dirty="0">
              <a:latin typeface="Cambria" panose="02040503050406030204" pitchFamily="18" charset="0"/>
            </a:rPr>
            <a:t>Daily 2987/3389 Deliveries registered (88.2%) </a:t>
          </a:r>
        </a:p>
      </dgm:t>
    </dgm:pt>
    <dgm:pt modelId="{5225ED57-2571-4C89-9BD9-9B7AA812209A}" type="parTrans" cxnId="{D2185199-02C8-4B8D-8D70-793EE91F5011}">
      <dgm:prSet/>
      <dgm:spPr/>
      <dgm:t>
        <a:bodyPr/>
        <a:lstStyle/>
        <a:p>
          <a:endParaRPr lang="en-US"/>
        </a:p>
      </dgm:t>
    </dgm:pt>
    <dgm:pt modelId="{2C4F9206-7BFF-4A39-98FF-83C70DA13399}" type="sibTrans" cxnId="{D2185199-02C8-4B8D-8D70-793EE91F5011}">
      <dgm:prSet/>
      <dgm:spPr/>
      <dgm:t>
        <a:bodyPr/>
        <a:lstStyle/>
        <a:p>
          <a:endParaRPr lang="en-US"/>
        </a:p>
      </dgm:t>
    </dgm:pt>
    <dgm:pt modelId="{8A4710E1-0913-4D87-8C40-D22B25B05EBC}">
      <dgm:prSet custT="1"/>
      <dgm:spPr/>
      <dgm:t>
        <a:bodyPr/>
        <a:lstStyle/>
        <a:p>
          <a:pPr>
            <a:lnSpc>
              <a:spcPct val="150000"/>
            </a:lnSpc>
            <a:spcAft>
              <a:spcPts val="0"/>
            </a:spcAft>
          </a:pPr>
          <a:r>
            <a:rPr lang="en-US" sz="2400" dirty="0">
              <a:latin typeface="Cambria" panose="02040503050406030204" pitchFamily="18" charset="0"/>
            </a:rPr>
            <a:t>99.3% of population (6.53 Cr.)</a:t>
          </a:r>
        </a:p>
      </dgm:t>
    </dgm:pt>
    <dgm:pt modelId="{C0DB41EE-B15D-4516-97A7-897819A94464}" type="parTrans" cxnId="{A653821A-59FF-4BC4-BA92-A210FC60B7C8}">
      <dgm:prSet/>
      <dgm:spPr/>
      <dgm:t>
        <a:bodyPr/>
        <a:lstStyle/>
        <a:p>
          <a:endParaRPr lang="en-US"/>
        </a:p>
      </dgm:t>
    </dgm:pt>
    <dgm:pt modelId="{9BB136F3-4D8E-4E9E-BBC2-594817A2AF3F}" type="sibTrans" cxnId="{A653821A-59FF-4BC4-BA92-A210FC60B7C8}">
      <dgm:prSet/>
      <dgm:spPr/>
      <dgm:t>
        <a:bodyPr/>
        <a:lstStyle/>
        <a:p>
          <a:endParaRPr lang="en-US"/>
        </a:p>
      </dgm:t>
    </dgm:pt>
    <dgm:pt modelId="{CFB6D717-8ECB-44B8-BF27-C24AA759277C}">
      <dgm:prSet custT="1"/>
      <dgm:spPr/>
      <dgm:t>
        <a:bodyPr/>
        <a:lstStyle/>
        <a:p>
          <a:pPr>
            <a:lnSpc>
              <a:spcPct val="150000"/>
            </a:lnSpc>
            <a:spcAft>
              <a:spcPts val="0"/>
            </a:spcAft>
          </a:pPr>
          <a:r>
            <a:rPr lang="en-US" sz="2400" dirty="0">
              <a:latin typeface="Cambria" panose="02040503050406030204" pitchFamily="18" charset="0"/>
            </a:rPr>
            <a:t>7,46,551 pregnancy registration (89.4%)</a:t>
          </a:r>
        </a:p>
      </dgm:t>
    </dgm:pt>
    <dgm:pt modelId="{BA278EA6-2486-4A5B-9950-EA8F6474B102}" type="parTrans" cxnId="{B7917443-C51B-4DE7-A4FA-C5AA684F9459}">
      <dgm:prSet/>
      <dgm:spPr/>
      <dgm:t>
        <a:bodyPr/>
        <a:lstStyle/>
        <a:p>
          <a:endParaRPr lang="en-US"/>
        </a:p>
      </dgm:t>
    </dgm:pt>
    <dgm:pt modelId="{CFD7CCC7-8EF0-4963-9A01-7BC98A4CDF8A}" type="sibTrans" cxnId="{B7917443-C51B-4DE7-A4FA-C5AA684F9459}">
      <dgm:prSet/>
      <dgm:spPr/>
      <dgm:t>
        <a:bodyPr/>
        <a:lstStyle/>
        <a:p>
          <a:endParaRPr lang="en-US"/>
        </a:p>
      </dgm:t>
    </dgm:pt>
    <dgm:pt modelId="{D87E0CA2-46BA-41CB-A264-42D13C7E3BA1}" type="pres">
      <dgm:prSet presAssocID="{D94E971F-1466-4822-A975-BEE5E2EDA1B6}" presName="Name0" presStyleCnt="0">
        <dgm:presLayoutVars>
          <dgm:dir/>
          <dgm:animLvl val="lvl"/>
          <dgm:resizeHandles/>
        </dgm:presLayoutVars>
      </dgm:prSet>
      <dgm:spPr/>
    </dgm:pt>
    <dgm:pt modelId="{744D4CB8-7F01-4292-B823-BED135860481}" type="pres">
      <dgm:prSet presAssocID="{55733CFA-7D27-4EED-93E9-F145D003BE41}" presName="linNode" presStyleCnt="0"/>
      <dgm:spPr/>
    </dgm:pt>
    <dgm:pt modelId="{48125431-3A20-4AA6-928A-B204DB2E3A3F}" type="pres">
      <dgm:prSet presAssocID="{55733CFA-7D27-4EED-93E9-F145D003BE41}" presName="parentShp" presStyleLbl="node1" presStyleIdx="0" presStyleCnt="3">
        <dgm:presLayoutVars>
          <dgm:bulletEnabled val="1"/>
        </dgm:presLayoutVars>
      </dgm:prSet>
      <dgm:spPr/>
    </dgm:pt>
    <dgm:pt modelId="{88A759A0-0863-442C-8B6A-BA29DD6E3C2B}" type="pres">
      <dgm:prSet presAssocID="{55733CFA-7D27-4EED-93E9-F145D003BE41}" presName="childShp" presStyleLbl="bgAccFollowNode1" presStyleIdx="0" presStyleCnt="3">
        <dgm:presLayoutVars>
          <dgm:bulletEnabled val="1"/>
        </dgm:presLayoutVars>
      </dgm:prSet>
      <dgm:spPr/>
    </dgm:pt>
    <dgm:pt modelId="{9EF640BE-3663-49AB-B464-5FC3A084F203}" type="pres">
      <dgm:prSet presAssocID="{A943322D-C083-4FB7-9FF5-95F6E96FAFA5}" presName="spacing" presStyleCnt="0"/>
      <dgm:spPr/>
    </dgm:pt>
    <dgm:pt modelId="{F39E0B7B-5DEA-481D-9775-1B02E5B4E43D}" type="pres">
      <dgm:prSet presAssocID="{6261FF26-E86C-489D-81C0-C7F25020B9DE}" presName="linNode" presStyleCnt="0"/>
      <dgm:spPr/>
    </dgm:pt>
    <dgm:pt modelId="{CFCC1035-2B21-48C0-8545-9D21EF7C7CC8}" type="pres">
      <dgm:prSet presAssocID="{6261FF26-E86C-489D-81C0-C7F25020B9DE}" presName="parentShp" presStyleLbl="node1" presStyleIdx="1" presStyleCnt="3">
        <dgm:presLayoutVars>
          <dgm:bulletEnabled val="1"/>
        </dgm:presLayoutVars>
      </dgm:prSet>
      <dgm:spPr/>
    </dgm:pt>
    <dgm:pt modelId="{5D6DAE0B-9C14-4892-9C72-F35AD893CC27}" type="pres">
      <dgm:prSet presAssocID="{6261FF26-E86C-489D-81C0-C7F25020B9DE}" presName="childShp" presStyleLbl="bgAccFollowNode1" presStyleIdx="1" presStyleCnt="3">
        <dgm:presLayoutVars>
          <dgm:bulletEnabled val="1"/>
        </dgm:presLayoutVars>
      </dgm:prSet>
      <dgm:spPr/>
    </dgm:pt>
    <dgm:pt modelId="{68AED7CF-F729-41D4-99C3-A17D606C61B8}" type="pres">
      <dgm:prSet presAssocID="{A2007CC2-4415-4C7E-A8CA-A234A75A47AA}" presName="spacing" presStyleCnt="0"/>
      <dgm:spPr/>
    </dgm:pt>
    <dgm:pt modelId="{7C037283-54DE-49D3-8932-1F30AA0DAE91}" type="pres">
      <dgm:prSet presAssocID="{3C6B8312-5A1B-418B-93F2-3F56FB44107E}" presName="linNode" presStyleCnt="0"/>
      <dgm:spPr/>
    </dgm:pt>
    <dgm:pt modelId="{2E3432A5-FE23-41D4-B325-483BE2B6FB7C}" type="pres">
      <dgm:prSet presAssocID="{3C6B8312-5A1B-418B-93F2-3F56FB44107E}" presName="parentShp" presStyleLbl="node1" presStyleIdx="2" presStyleCnt="3">
        <dgm:presLayoutVars>
          <dgm:bulletEnabled val="1"/>
        </dgm:presLayoutVars>
      </dgm:prSet>
      <dgm:spPr/>
    </dgm:pt>
    <dgm:pt modelId="{844C902A-1AE9-45D8-A71F-3515F23EF466}" type="pres">
      <dgm:prSet presAssocID="{3C6B8312-5A1B-418B-93F2-3F56FB44107E}" presName="childShp" presStyleLbl="bgAccFollowNode1" presStyleIdx="2" presStyleCnt="3">
        <dgm:presLayoutVars>
          <dgm:bulletEnabled val="1"/>
        </dgm:presLayoutVars>
      </dgm:prSet>
      <dgm:spPr/>
    </dgm:pt>
  </dgm:ptLst>
  <dgm:cxnLst>
    <dgm:cxn modelId="{1EE88903-0524-49AA-ACC8-A7505F8B5A01}" type="presOf" srcId="{6261FF26-E86C-489D-81C0-C7F25020B9DE}" destId="{CFCC1035-2B21-48C0-8545-9D21EF7C7CC8}" srcOrd="0" destOrd="0" presId="urn:microsoft.com/office/officeart/2005/8/layout/vList6"/>
    <dgm:cxn modelId="{09838F06-F47F-4FA7-A4CA-0839A1C909A3}" type="presOf" srcId="{D94E971F-1466-4822-A975-BEE5E2EDA1B6}" destId="{D87E0CA2-46BA-41CB-A264-42D13C7E3BA1}" srcOrd="0" destOrd="0" presId="urn:microsoft.com/office/officeart/2005/8/layout/vList6"/>
    <dgm:cxn modelId="{8488A113-A257-4E86-9751-7B721EC557E5}" srcId="{D94E971F-1466-4822-A975-BEE5E2EDA1B6}" destId="{3C6B8312-5A1B-418B-93F2-3F56FB44107E}" srcOrd="2" destOrd="0" parTransId="{533641B9-AECB-48A4-B8A2-2A56E538874D}" sibTransId="{1B82F60F-F402-45F8-A52B-519DF1CAAC9A}"/>
    <dgm:cxn modelId="{1EED3C19-E884-41F9-8F8D-30B9F58ABCA3}" srcId="{55733CFA-7D27-4EED-93E9-F145D003BE41}" destId="{F1D59274-0E11-4013-894F-4E9B1A8FB18D}" srcOrd="1" destOrd="0" parTransId="{A9C1D7B2-5267-4684-AAA2-05947EE916ED}" sibTransId="{B5DF4823-20FE-45F7-A539-41D675D366A9}"/>
    <dgm:cxn modelId="{A653821A-59FF-4BC4-BA92-A210FC60B7C8}" srcId="{3C6B8312-5A1B-418B-93F2-3F56FB44107E}" destId="{8A4710E1-0913-4D87-8C40-D22B25B05EBC}" srcOrd="0" destOrd="0" parTransId="{C0DB41EE-B15D-4516-97A7-897819A94464}" sibTransId="{9BB136F3-4D8E-4E9E-BBC2-594817A2AF3F}"/>
    <dgm:cxn modelId="{EB16A31B-CE10-4CF3-9CDB-1A0EFCF3C529}" type="presOf" srcId="{F1D59274-0E11-4013-894F-4E9B1A8FB18D}" destId="{88A759A0-0863-442C-8B6A-BA29DD6E3C2B}" srcOrd="0" destOrd="1" presId="urn:microsoft.com/office/officeart/2005/8/layout/vList6"/>
    <dgm:cxn modelId="{1F1F4C2E-B8F0-4697-994D-7D2FE9A80DFB}" type="presOf" srcId="{8C0EBDA0-D5AB-4B31-8E15-3D4F5BAB6DCC}" destId="{88A759A0-0863-442C-8B6A-BA29DD6E3C2B}" srcOrd="0" destOrd="0" presId="urn:microsoft.com/office/officeart/2005/8/layout/vList6"/>
    <dgm:cxn modelId="{47DB6A34-ABFC-4497-9997-E535514C64BE}" type="presOf" srcId="{BAEDF386-D9F3-4C24-A6BC-23EB6734B771}" destId="{5D6DAE0B-9C14-4892-9C72-F35AD893CC27}" srcOrd="0" destOrd="0" presId="urn:microsoft.com/office/officeart/2005/8/layout/vList6"/>
    <dgm:cxn modelId="{5E824443-5CA5-47A9-A79C-0E797108AD7C}" srcId="{55733CFA-7D27-4EED-93E9-F145D003BE41}" destId="{9C50BDD7-CAF6-461C-B535-F89CBB30421F}" srcOrd="2" destOrd="0" parTransId="{FA1A78E9-42EE-44E8-861B-8EF6E5AE02A3}" sibTransId="{03232682-2CC2-4229-9E52-17F4F19099E2}"/>
    <dgm:cxn modelId="{B7917443-C51B-4DE7-A4FA-C5AA684F9459}" srcId="{3C6B8312-5A1B-418B-93F2-3F56FB44107E}" destId="{CFB6D717-8ECB-44B8-BF27-C24AA759277C}" srcOrd="1" destOrd="0" parTransId="{BA278EA6-2486-4A5B-9950-EA8F6474B102}" sibTransId="{CFD7CCC7-8EF0-4963-9A01-7BC98A4CDF8A}"/>
    <dgm:cxn modelId="{B8FA394F-1D9A-4D93-A7CE-D74A540C3204}" type="presOf" srcId="{CFB6D717-8ECB-44B8-BF27-C24AA759277C}" destId="{844C902A-1AE9-45D8-A71F-3515F23EF466}" srcOrd="0" destOrd="1" presId="urn:microsoft.com/office/officeart/2005/8/layout/vList6"/>
    <dgm:cxn modelId="{F6E3EA65-7B12-4CF7-9E8D-A1B3FDE3A044}" srcId="{55733CFA-7D27-4EED-93E9-F145D003BE41}" destId="{8C0EBDA0-D5AB-4B31-8E15-3D4F5BAB6DCC}" srcOrd="0" destOrd="0" parTransId="{C67A9CA0-A15E-40AB-A238-B2C244422EC1}" sibTransId="{1DC33199-AAA1-4B89-A832-DBDD986EA458}"/>
    <dgm:cxn modelId="{FD422269-D146-46D3-B8C7-7F8BB01CE562}" type="presOf" srcId="{9C50BDD7-CAF6-461C-B535-F89CBB30421F}" destId="{88A759A0-0863-442C-8B6A-BA29DD6E3C2B}" srcOrd="0" destOrd="2" presId="urn:microsoft.com/office/officeart/2005/8/layout/vList6"/>
    <dgm:cxn modelId="{07E4F273-6B15-44D4-88A4-192D8857F3F3}" type="presOf" srcId="{220E755A-E05D-4635-B5FE-F9B3C65F23BC}" destId="{5D6DAE0B-9C14-4892-9C72-F35AD893CC27}" srcOrd="0" destOrd="1" presId="urn:microsoft.com/office/officeart/2005/8/layout/vList6"/>
    <dgm:cxn modelId="{BF93EA74-C8D1-46BA-BB64-135A2372A9FD}" srcId="{D94E971F-1466-4822-A975-BEE5E2EDA1B6}" destId="{6261FF26-E86C-489D-81C0-C7F25020B9DE}" srcOrd="1" destOrd="0" parTransId="{62FEF921-1CED-4366-A4D5-7CF4C1D60519}" sibTransId="{A2007CC2-4415-4C7E-A8CA-A234A75A47AA}"/>
    <dgm:cxn modelId="{0DD09898-40C3-4D95-A78A-741AD54FDAD9}" srcId="{D94E971F-1466-4822-A975-BEE5E2EDA1B6}" destId="{55733CFA-7D27-4EED-93E9-F145D003BE41}" srcOrd="0" destOrd="0" parTransId="{027BB898-72DF-4E1F-8A8E-A76F11908395}" sibTransId="{A943322D-C083-4FB7-9FF5-95F6E96FAFA5}"/>
    <dgm:cxn modelId="{D2185199-02C8-4B8D-8D70-793EE91F5011}" srcId="{6261FF26-E86C-489D-81C0-C7F25020B9DE}" destId="{220E755A-E05D-4635-B5FE-F9B3C65F23BC}" srcOrd="1" destOrd="0" parTransId="{5225ED57-2571-4C89-9BD9-9B7AA812209A}" sibTransId="{2C4F9206-7BFF-4A39-98FF-83C70DA13399}"/>
    <dgm:cxn modelId="{93F447D2-85A4-4126-9AA1-FF2268E9FD80}" type="presOf" srcId="{3C6B8312-5A1B-418B-93F2-3F56FB44107E}" destId="{2E3432A5-FE23-41D4-B325-483BE2B6FB7C}" srcOrd="0" destOrd="0" presId="urn:microsoft.com/office/officeart/2005/8/layout/vList6"/>
    <dgm:cxn modelId="{ABB104DA-091E-4842-99D7-6F847B78E9DB}" srcId="{6261FF26-E86C-489D-81C0-C7F25020B9DE}" destId="{BAEDF386-D9F3-4C24-A6BC-23EB6734B771}" srcOrd="0" destOrd="0" parTransId="{C88A17D5-B0C0-4611-BC62-99E6ADB29AC7}" sibTransId="{23458BA8-D7E3-44EA-BD08-908C1B95B0FB}"/>
    <dgm:cxn modelId="{BB20F9F6-CFEA-4EA8-9D0A-C1A413C1A2C2}" type="presOf" srcId="{8A4710E1-0913-4D87-8C40-D22B25B05EBC}" destId="{844C902A-1AE9-45D8-A71F-3515F23EF466}" srcOrd="0" destOrd="0" presId="urn:microsoft.com/office/officeart/2005/8/layout/vList6"/>
    <dgm:cxn modelId="{D19954F8-1C54-446C-A132-85F7D682D687}" type="presOf" srcId="{55733CFA-7D27-4EED-93E9-F145D003BE41}" destId="{48125431-3A20-4AA6-928A-B204DB2E3A3F}" srcOrd="0" destOrd="0" presId="urn:microsoft.com/office/officeart/2005/8/layout/vList6"/>
    <dgm:cxn modelId="{6B1591B4-7E88-4232-A1F4-2422CD7A0356}" type="presParOf" srcId="{D87E0CA2-46BA-41CB-A264-42D13C7E3BA1}" destId="{744D4CB8-7F01-4292-B823-BED135860481}" srcOrd="0" destOrd="0" presId="urn:microsoft.com/office/officeart/2005/8/layout/vList6"/>
    <dgm:cxn modelId="{A8CA0CE3-719F-4295-9444-AEE03E92517A}" type="presParOf" srcId="{744D4CB8-7F01-4292-B823-BED135860481}" destId="{48125431-3A20-4AA6-928A-B204DB2E3A3F}" srcOrd="0" destOrd="0" presId="urn:microsoft.com/office/officeart/2005/8/layout/vList6"/>
    <dgm:cxn modelId="{780F882F-E930-4769-BC25-FB2D7225A374}" type="presParOf" srcId="{744D4CB8-7F01-4292-B823-BED135860481}" destId="{88A759A0-0863-442C-8B6A-BA29DD6E3C2B}" srcOrd="1" destOrd="0" presId="urn:microsoft.com/office/officeart/2005/8/layout/vList6"/>
    <dgm:cxn modelId="{5293C339-5BE1-452B-9887-A93204DA6D17}" type="presParOf" srcId="{D87E0CA2-46BA-41CB-A264-42D13C7E3BA1}" destId="{9EF640BE-3663-49AB-B464-5FC3A084F203}" srcOrd="1" destOrd="0" presId="urn:microsoft.com/office/officeart/2005/8/layout/vList6"/>
    <dgm:cxn modelId="{99FAC9A1-A68B-4384-9BE6-E464FE71D119}" type="presParOf" srcId="{D87E0CA2-46BA-41CB-A264-42D13C7E3BA1}" destId="{F39E0B7B-5DEA-481D-9775-1B02E5B4E43D}" srcOrd="2" destOrd="0" presId="urn:microsoft.com/office/officeart/2005/8/layout/vList6"/>
    <dgm:cxn modelId="{A9F88D0D-D1D1-4110-AAA0-44963BBE4A67}" type="presParOf" srcId="{F39E0B7B-5DEA-481D-9775-1B02E5B4E43D}" destId="{CFCC1035-2B21-48C0-8545-9D21EF7C7CC8}" srcOrd="0" destOrd="0" presId="urn:microsoft.com/office/officeart/2005/8/layout/vList6"/>
    <dgm:cxn modelId="{D4AE1035-3450-4B4A-8C81-6FCE2E1CD811}" type="presParOf" srcId="{F39E0B7B-5DEA-481D-9775-1B02E5B4E43D}" destId="{5D6DAE0B-9C14-4892-9C72-F35AD893CC27}" srcOrd="1" destOrd="0" presId="urn:microsoft.com/office/officeart/2005/8/layout/vList6"/>
    <dgm:cxn modelId="{A17C3510-31D0-432E-9942-00DA95EE5DEE}" type="presParOf" srcId="{D87E0CA2-46BA-41CB-A264-42D13C7E3BA1}" destId="{68AED7CF-F729-41D4-99C3-A17D606C61B8}" srcOrd="3" destOrd="0" presId="urn:microsoft.com/office/officeart/2005/8/layout/vList6"/>
    <dgm:cxn modelId="{0DBC7D80-F556-4FFE-BB99-B7BCEB4B16E7}" type="presParOf" srcId="{D87E0CA2-46BA-41CB-A264-42D13C7E3BA1}" destId="{7C037283-54DE-49D3-8932-1F30AA0DAE91}" srcOrd="4" destOrd="0" presId="urn:microsoft.com/office/officeart/2005/8/layout/vList6"/>
    <dgm:cxn modelId="{E12B77EF-CB70-4CA0-A1F5-27EC3A16BA72}" type="presParOf" srcId="{7C037283-54DE-49D3-8932-1F30AA0DAE91}" destId="{2E3432A5-FE23-41D4-B325-483BE2B6FB7C}" srcOrd="0" destOrd="0" presId="urn:microsoft.com/office/officeart/2005/8/layout/vList6"/>
    <dgm:cxn modelId="{8394704C-C0D9-4E27-8F29-7514CFAC8D1D}" type="presParOf" srcId="{7C037283-54DE-49D3-8932-1F30AA0DAE91}" destId="{844C902A-1AE9-45D8-A71F-3515F23EF466}"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269C89-B78F-2D40-9500-53AD6D8A551D}">
      <dsp:nvSpPr>
        <dsp:cNvPr id="0" name=""/>
        <dsp:cNvSpPr/>
      </dsp:nvSpPr>
      <dsp:spPr>
        <a:xfrm>
          <a:off x="-5345768" y="-818645"/>
          <a:ext cx="6365464" cy="6365464"/>
        </a:xfrm>
        <a:prstGeom prst="blockArc">
          <a:avLst>
            <a:gd name="adj1" fmla="val 18900000"/>
            <a:gd name="adj2" fmla="val 2700000"/>
            <a:gd name="adj3" fmla="val 339"/>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A795B18-10A3-AC43-BC90-45CB79F4576C}">
      <dsp:nvSpPr>
        <dsp:cNvPr id="0" name=""/>
        <dsp:cNvSpPr/>
      </dsp:nvSpPr>
      <dsp:spPr>
        <a:xfrm>
          <a:off x="445911" y="295416"/>
          <a:ext cx="4670011" cy="59121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9274"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dirty="0"/>
            <a:t>Staff</a:t>
          </a:r>
        </a:p>
      </dsp:txBody>
      <dsp:txXfrm>
        <a:off x="445911" y="295416"/>
        <a:ext cx="4670011" cy="591210"/>
      </dsp:txXfrm>
    </dsp:sp>
    <dsp:sp modelId="{EF397313-49C7-AA44-AC5E-B3ECEB99B67A}">
      <dsp:nvSpPr>
        <dsp:cNvPr id="0" name=""/>
        <dsp:cNvSpPr/>
      </dsp:nvSpPr>
      <dsp:spPr>
        <a:xfrm>
          <a:off x="76405" y="221514"/>
          <a:ext cx="739013" cy="73901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97D334-FCDB-D04A-8327-AEE5D68FE9D6}">
      <dsp:nvSpPr>
        <dsp:cNvPr id="0" name=""/>
        <dsp:cNvSpPr/>
      </dsp:nvSpPr>
      <dsp:spPr>
        <a:xfrm>
          <a:off x="869556" y="1181948"/>
          <a:ext cx="4246367" cy="59121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9274"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dirty="0"/>
            <a:t>Infrastructure</a:t>
          </a:r>
          <a:r>
            <a:rPr lang="en-US" sz="2500" kern="1200"/>
            <a:t>/ Medicines</a:t>
          </a:r>
          <a:endParaRPr lang="en-US" sz="2500" kern="1200" dirty="0"/>
        </a:p>
      </dsp:txBody>
      <dsp:txXfrm>
        <a:off x="869556" y="1181948"/>
        <a:ext cx="4246367" cy="591210"/>
      </dsp:txXfrm>
    </dsp:sp>
    <dsp:sp modelId="{1120ACAB-9E2C-A242-8C31-16553FBC3A66}">
      <dsp:nvSpPr>
        <dsp:cNvPr id="0" name=""/>
        <dsp:cNvSpPr/>
      </dsp:nvSpPr>
      <dsp:spPr>
        <a:xfrm>
          <a:off x="500049" y="1108047"/>
          <a:ext cx="739013" cy="73901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3E28904-4A59-C247-8D62-38381BF270D0}">
      <dsp:nvSpPr>
        <dsp:cNvPr id="0" name=""/>
        <dsp:cNvSpPr/>
      </dsp:nvSpPr>
      <dsp:spPr>
        <a:xfrm>
          <a:off x="999580" y="2068481"/>
          <a:ext cx="4116342" cy="59121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9274"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dirty="0"/>
            <a:t>Number of visits to PHCs</a:t>
          </a:r>
        </a:p>
      </dsp:txBody>
      <dsp:txXfrm>
        <a:off x="999580" y="2068481"/>
        <a:ext cx="4116342" cy="591210"/>
      </dsp:txXfrm>
    </dsp:sp>
    <dsp:sp modelId="{8BBB234E-B123-6A45-8CF5-746D1FC785F9}">
      <dsp:nvSpPr>
        <dsp:cNvPr id="0" name=""/>
        <dsp:cNvSpPr/>
      </dsp:nvSpPr>
      <dsp:spPr>
        <a:xfrm>
          <a:off x="630074" y="1994579"/>
          <a:ext cx="739013" cy="73901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99EB29-25D9-D14C-A14D-513306CF2087}">
      <dsp:nvSpPr>
        <dsp:cNvPr id="0" name=""/>
        <dsp:cNvSpPr/>
      </dsp:nvSpPr>
      <dsp:spPr>
        <a:xfrm>
          <a:off x="869556" y="2955013"/>
          <a:ext cx="4246367" cy="59121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9274"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dirty="0"/>
            <a:t>Number of review meetings</a:t>
          </a:r>
        </a:p>
      </dsp:txBody>
      <dsp:txXfrm>
        <a:off x="869556" y="2955013"/>
        <a:ext cx="4246367" cy="591210"/>
      </dsp:txXfrm>
    </dsp:sp>
    <dsp:sp modelId="{AA680B59-3424-1C4C-9949-20CE62E2F7B2}">
      <dsp:nvSpPr>
        <dsp:cNvPr id="0" name=""/>
        <dsp:cNvSpPr/>
      </dsp:nvSpPr>
      <dsp:spPr>
        <a:xfrm>
          <a:off x="500049" y="2881112"/>
          <a:ext cx="739013" cy="73901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986E5D8-7B77-BC4A-9F86-34FAAB77B0DE}">
      <dsp:nvSpPr>
        <dsp:cNvPr id="0" name=""/>
        <dsp:cNvSpPr/>
      </dsp:nvSpPr>
      <dsp:spPr>
        <a:xfrm>
          <a:off x="445911" y="3841545"/>
          <a:ext cx="4670011" cy="59121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9274" tIns="63500" rIns="63500" bIns="63500" numCol="1" spcCol="1270" anchor="ctr" anchorCtr="0">
          <a:noAutofit/>
        </a:bodyPr>
        <a:lstStyle/>
        <a:p>
          <a:pPr marL="0" lvl="0" indent="0" algn="l" defTabSz="1111250">
            <a:lnSpc>
              <a:spcPct val="90000"/>
            </a:lnSpc>
            <a:spcBef>
              <a:spcPct val="0"/>
            </a:spcBef>
            <a:spcAft>
              <a:spcPct val="35000"/>
            </a:spcAft>
            <a:buNone/>
          </a:pPr>
          <a:r>
            <a:rPr lang="en-US" sz="2500" kern="1200" dirty="0"/>
            <a:t>Number of machines sealed</a:t>
          </a:r>
        </a:p>
      </dsp:txBody>
      <dsp:txXfrm>
        <a:off x="445911" y="3841545"/>
        <a:ext cx="4670011" cy="591210"/>
      </dsp:txXfrm>
    </dsp:sp>
    <dsp:sp modelId="{BCD5FCC3-9F3F-324B-BC69-075D2BE81714}">
      <dsp:nvSpPr>
        <dsp:cNvPr id="0" name=""/>
        <dsp:cNvSpPr/>
      </dsp:nvSpPr>
      <dsp:spPr>
        <a:xfrm>
          <a:off x="76405" y="3767644"/>
          <a:ext cx="739013" cy="73901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A6690B-7952-49B8-AC35-D1DC0643355D}">
      <dsp:nvSpPr>
        <dsp:cNvPr id="0" name=""/>
        <dsp:cNvSpPr/>
      </dsp:nvSpPr>
      <dsp:spPr>
        <a:xfrm>
          <a:off x="-7755416" y="-1184976"/>
          <a:ext cx="9227952" cy="9227952"/>
        </a:xfrm>
        <a:prstGeom prst="blockArc">
          <a:avLst>
            <a:gd name="adj1" fmla="val 18900000"/>
            <a:gd name="adj2" fmla="val 2700000"/>
            <a:gd name="adj3" fmla="val 234"/>
          </a:avLst>
        </a:prstGeom>
        <a:noFill/>
        <a:ln w="12700" cap="flat" cmpd="sng" algn="ctr">
          <a:solidFill>
            <a:schemeClr val="accent2">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71A83284-5263-4A81-9B6C-C07A27D7B03B}">
      <dsp:nvSpPr>
        <dsp:cNvPr id="0" name=""/>
        <dsp:cNvSpPr/>
      </dsp:nvSpPr>
      <dsp:spPr>
        <a:xfrm>
          <a:off x="770279" y="527243"/>
          <a:ext cx="9472160" cy="105503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7434" tIns="60960" rIns="60960" bIns="60960" numCol="1" spcCol="1270" anchor="ctr" anchorCtr="0">
          <a:noAutofit/>
        </a:bodyPr>
        <a:lstStyle/>
        <a:p>
          <a:pPr marL="0" lvl="0" indent="0" algn="l" defTabSz="1066800">
            <a:lnSpc>
              <a:spcPct val="150000"/>
            </a:lnSpc>
            <a:spcBef>
              <a:spcPct val="0"/>
            </a:spcBef>
            <a:spcAft>
              <a:spcPct val="35000"/>
            </a:spcAft>
            <a:buNone/>
          </a:pPr>
          <a:r>
            <a:rPr lang="en-US" sz="2400" b="0" kern="1200" dirty="0">
              <a:latin typeface="Cambria" panose="02040503050406030204" pitchFamily="18" charset="0"/>
            </a:rPr>
            <a:t>One Stop Health IT solution </a:t>
          </a:r>
        </a:p>
      </dsp:txBody>
      <dsp:txXfrm>
        <a:off x="770279" y="527243"/>
        <a:ext cx="9472160" cy="1055034"/>
      </dsp:txXfrm>
    </dsp:sp>
    <dsp:sp modelId="{491AFF3C-0DFA-474F-AF16-C65BBA1B8653}">
      <dsp:nvSpPr>
        <dsp:cNvPr id="0" name=""/>
        <dsp:cNvSpPr/>
      </dsp:nvSpPr>
      <dsp:spPr>
        <a:xfrm>
          <a:off x="110882" y="395363"/>
          <a:ext cx="1318793" cy="1318793"/>
        </a:xfrm>
        <a:prstGeom prst="ellipse">
          <a:avLst/>
        </a:prstGeom>
        <a:solidFill>
          <a:schemeClr val="lt1">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F670F624-204B-49B6-862E-C00F0E295246}">
      <dsp:nvSpPr>
        <dsp:cNvPr id="0" name=""/>
        <dsp:cNvSpPr/>
      </dsp:nvSpPr>
      <dsp:spPr>
        <a:xfrm>
          <a:off x="1375155" y="2110069"/>
          <a:ext cx="8867285" cy="1055034"/>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7434" tIns="60960" rIns="60960" bIns="60960" numCol="1" spcCol="1270" anchor="ctr" anchorCtr="0">
          <a:noAutofit/>
        </a:bodyPr>
        <a:lstStyle/>
        <a:p>
          <a:pPr marL="0" lvl="0" indent="0" algn="l" defTabSz="1066800">
            <a:lnSpc>
              <a:spcPct val="150000"/>
            </a:lnSpc>
            <a:spcBef>
              <a:spcPct val="0"/>
            </a:spcBef>
            <a:spcAft>
              <a:spcPct val="35000"/>
            </a:spcAft>
            <a:buNone/>
          </a:pPr>
          <a:r>
            <a:rPr lang="en-US" sz="2400" b="0" kern="1200" dirty="0">
              <a:latin typeface="Cambria" panose="02040503050406030204" pitchFamily="18" charset="0"/>
              <a:cs typeface="Poppins" panose="00000500000000000000" pitchFamily="2" charset="0"/>
            </a:rPr>
            <a:t> Real time-real place-real person data entry for 7+4 indicators</a:t>
          </a:r>
        </a:p>
      </dsp:txBody>
      <dsp:txXfrm>
        <a:off x="1375155" y="2110069"/>
        <a:ext cx="8867285" cy="1055034"/>
      </dsp:txXfrm>
    </dsp:sp>
    <dsp:sp modelId="{5C6A690B-6FB0-4A2B-B467-BEEBE9C43B07}">
      <dsp:nvSpPr>
        <dsp:cNvPr id="0" name=""/>
        <dsp:cNvSpPr/>
      </dsp:nvSpPr>
      <dsp:spPr>
        <a:xfrm>
          <a:off x="715758" y="1978190"/>
          <a:ext cx="1318793" cy="1318793"/>
        </a:xfrm>
        <a:prstGeom prst="ellipse">
          <a:avLst/>
        </a:prstGeom>
        <a:solidFill>
          <a:schemeClr val="lt1">
            <a:hueOff val="0"/>
            <a:satOff val="0"/>
            <a:lumOff val="0"/>
            <a:alphaOff val="0"/>
          </a:schemeClr>
        </a:solidFill>
        <a:ln w="6350" cap="flat" cmpd="sng" algn="ctr">
          <a:solidFill>
            <a:schemeClr val="accent3">
              <a:hueOff val="0"/>
              <a:satOff val="0"/>
              <a:lumOff val="0"/>
              <a:alphaOff val="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19D5F7D4-42B4-4221-812E-FD0F6D340883}">
      <dsp:nvSpPr>
        <dsp:cNvPr id="0" name=""/>
        <dsp:cNvSpPr/>
      </dsp:nvSpPr>
      <dsp:spPr>
        <a:xfrm>
          <a:off x="1375155" y="3692895"/>
          <a:ext cx="8867285" cy="1055034"/>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7434" tIns="60960" rIns="60960" bIns="60960" numCol="1" spcCol="1270" anchor="ctr" anchorCtr="0">
          <a:noAutofit/>
        </a:bodyPr>
        <a:lstStyle/>
        <a:p>
          <a:pPr marL="0" lvl="0" indent="0" algn="l" defTabSz="1066800" rtl="0">
            <a:lnSpc>
              <a:spcPct val="150000"/>
            </a:lnSpc>
            <a:spcBef>
              <a:spcPct val="0"/>
            </a:spcBef>
            <a:spcAft>
              <a:spcPct val="35000"/>
            </a:spcAft>
            <a:buNone/>
          </a:pPr>
          <a:r>
            <a:rPr lang="en-US" sz="2400" b="0" kern="1200" dirty="0">
              <a:latin typeface="Cambria" panose="02040503050406030204" pitchFamily="18" charset="0"/>
              <a:cs typeface="Poppins" panose="00000500000000000000" pitchFamily="2" charset="0"/>
            </a:rPr>
            <a:t> Third generation health data revolution digital real time decision support system</a:t>
          </a:r>
        </a:p>
      </dsp:txBody>
      <dsp:txXfrm>
        <a:off x="1375155" y="3692895"/>
        <a:ext cx="8867285" cy="1055034"/>
      </dsp:txXfrm>
    </dsp:sp>
    <dsp:sp modelId="{FA926E63-83AB-46E6-B459-E9FEEE7E037C}">
      <dsp:nvSpPr>
        <dsp:cNvPr id="0" name=""/>
        <dsp:cNvSpPr/>
      </dsp:nvSpPr>
      <dsp:spPr>
        <a:xfrm>
          <a:off x="715758" y="3561016"/>
          <a:ext cx="1318793" cy="1318793"/>
        </a:xfrm>
        <a:prstGeom prst="ellipse">
          <a:avLst/>
        </a:prstGeom>
        <a:solidFill>
          <a:schemeClr val="lt1">
            <a:hueOff val="0"/>
            <a:satOff val="0"/>
            <a:lumOff val="0"/>
            <a:alphaOff val="0"/>
          </a:schemeClr>
        </a:solidFill>
        <a:ln w="6350" cap="flat" cmpd="sng" algn="ctr">
          <a:solidFill>
            <a:schemeClr val="accent4">
              <a:hueOff val="0"/>
              <a:satOff val="0"/>
              <a:lumOff val="0"/>
              <a:alphaOff val="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A04BC8F5-FBB1-403E-B0CA-443799EC26AB}">
      <dsp:nvSpPr>
        <dsp:cNvPr id="0" name=""/>
        <dsp:cNvSpPr/>
      </dsp:nvSpPr>
      <dsp:spPr>
        <a:xfrm>
          <a:off x="770279" y="5275722"/>
          <a:ext cx="9472160" cy="1055034"/>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37434" tIns="60960" rIns="60960" bIns="60960" numCol="1" spcCol="1270" anchor="ctr" anchorCtr="0">
          <a:noAutofit/>
        </a:bodyPr>
        <a:lstStyle/>
        <a:p>
          <a:pPr marL="0" lvl="0" indent="0" algn="l" defTabSz="1066800" rtl="0">
            <a:lnSpc>
              <a:spcPct val="150000"/>
            </a:lnSpc>
            <a:spcBef>
              <a:spcPct val="0"/>
            </a:spcBef>
            <a:spcAft>
              <a:spcPct val="35000"/>
            </a:spcAft>
            <a:buNone/>
          </a:pPr>
          <a:r>
            <a:rPr lang="en-US" sz="2400" b="0" kern="1200" dirty="0">
              <a:latin typeface="Cambria" panose="02040503050406030204" pitchFamily="18" charset="0"/>
              <a:cs typeface="Poppins" panose="00000500000000000000" pitchFamily="2" charset="0"/>
            </a:rPr>
            <a:t>First step in direction of e Health Records</a:t>
          </a:r>
        </a:p>
      </dsp:txBody>
      <dsp:txXfrm>
        <a:off x="770279" y="5275722"/>
        <a:ext cx="9472160" cy="1055034"/>
      </dsp:txXfrm>
    </dsp:sp>
    <dsp:sp modelId="{D7C0A989-1C53-4F52-ACEE-7FC2CFDF3813}">
      <dsp:nvSpPr>
        <dsp:cNvPr id="0" name=""/>
        <dsp:cNvSpPr/>
      </dsp:nvSpPr>
      <dsp:spPr>
        <a:xfrm>
          <a:off x="110882" y="5143842"/>
          <a:ext cx="1318793" cy="1318793"/>
        </a:xfrm>
        <a:prstGeom prst="ellipse">
          <a:avLst/>
        </a:prstGeom>
        <a:solidFill>
          <a:schemeClr val="lt1">
            <a:hueOff val="0"/>
            <a:satOff val="0"/>
            <a:lumOff val="0"/>
            <a:alphaOff val="0"/>
          </a:schemeClr>
        </a:solidFill>
        <a:ln w="6350" cap="flat" cmpd="sng" algn="ctr">
          <a:solidFill>
            <a:schemeClr val="accent5">
              <a:hueOff val="0"/>
              <a:satOff val="0"/>
              <a:lumOff val="0"/>
              <a:alphaOff val="0"/>
            </a:schemeClr>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BB62F2-F871-48D7-9F54-B8CDA8F9B311}">
      <dsp:nvSpPr>
        <dsp:cNvPr id="0" name=""/>
        <dsp:cNvSpPr/>
      </dsp:nvSpPr>
      <dsp:spPr>
        <a:xfrm>
          <a:off x="3862336" y="2212390"/>
          <a:ext cx="2812044" cy="2432532"/>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dirty="0">
              <a:latin typeface="Cambria" panose="02040503050406030204" pitchFamily="18" charset="0"/>
            </a:rPr>
            <a:t>One Stop Solution for</a:t>
          </a:r>
        </a:p>
      </dsp:txBody>
      <dsp:txXfrm>
        <a:off x="4328331" y="2615495"/>
        <a:ext cx="1880054" cy="1626322"/>
      </dsp:txXfrm>
    </dsp:sp>
    <dsp:sp modelId="{BC858582-65BE-4D52-8F76-CF2B2B69D18F}">
      <dsp:nvSpPr>
        <dsp:cNvPr id="0" name=""/>
        <dsp:cNvSpPr/>
      </dsp:nvSpPr>
      <dsp:spPr>
        <a:xfrm>
          <a:off x="5623216" y="1048588"/>
          <a:ext cx="1060976" cy="914171"/>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BB7E2F-5F07-4650-B919-2617DEC795FD}">
      <dsp:nvSpPr>
        <dsp:cNvPr id="0" name=""/>
        <dsp:cNvSpPr/>
      </dsp:nvSpPr>
      <dsp:spPr>
        <a:xfrm>
          <a:off x="4121365" y="0"/>
          <a:ext cx="2304450" cy="1993620"/>
        </a:xfrm>
        <a:prstGeom prst="hexagon">
          <a:avLst>
            <a:gd name="adj" fmla="val 2857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Cambria" panose="02040503050406030204" pitchFamily="18" charset="0"/>
            </a:rPr>
            <a:t>Front line workers</a:t>
          </a:r>
        </a:p>
      </dsp:txBody>
      <dsp:txXfrm>
        <a:off x="4503262" y="330385"/>
        <a:ext cx="1540656" cy="1332850"/>
      </dsp:txXfrm>
    </dsp:sp>
    <dsp:sp modelId="{EF478090-604E-451F-ABDD-CB361BC0015C}">
      <dsp:nvSpPr>
        <dsp:cNvPr id="0" name=""/>
        <dsp:cNvSpPr/>
      </dsp:nvSpPr>
      <dsp:spPr>
        <a:xfrm>
          <a:off x="6861458" y="2757601"/>
          <a:ext cx="1060976" cy="914171"/>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55B182B-DBFB-41E3-AAB2-02FF08096183}">
      <dsp:nvSpPr>
        <dsp:cNvPr id="0" name=""/>
        <dsp:cNvSpPr/>
      </dsp:nvSpPr>
      <dsp:spPr>
        <a:xfrm>
          <a:off x="6234814" y="1226210"/>
          <a:ext cx="2304450" cy="1993620"/>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Cambria" panose="02040503050406030204" pitchFamily="18" charset="0"/>
            </a:rPr>
            <a:t>Public &amp; Private Health Facilities</a:t>
          </a:r>
        </a:p>
      </dsp:txBody>
      <dsp:txXfrm>
        <a:off x="6616711" y="1556595"/>
        <a:ext cx="1540656" cy="1332850"/>
      </dsp:txXfrm>
    </dsp:sp>
    <dsp:sp modelId="{B6DFED64-1BB9-4C65-AA06-4E964C2C2282}">
      <dsp:nvSpPr>
        <dsp:cNvPr id="0" name=""/>
        <dsp:cNvSpPr/>
      </dsp:nvSpPr>
      <dsp:spPr>
        <a:xfrm>
          <a:off x="6001295" y="4686757"/>
          <a:ext cx="1060976" cy="914171"/>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85AF53-5337-4911-8B5F-EBBC38520DBB}">
      <dsp:nvSpPr>
        <dsp:cNvPr id="0" name=""/>
        <dsp:cNvSpPr/>
      </dsp:nvSpPr>
      <dsp:spPr>
        <a:xfrm>
          <a:off x="6234814" y="3636797"/>
          <a:ext cx="2304450" cy="1993620"/>
        </a:xfrm>
        <a:prstGeom prst="hexagon">
          <a:avLst>
            <a:gd name="adj" fmla="val 28570"/>
            <a:gd name="vf" fmla="val 11547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Cambria" panose="02040503050406030204" pitchFamily="18" charset="0"/>
            </a:rPr>
            <a:t>Beneficiaries</a:t>
          </a:r>
        </a:p>
      </dsp:txBody>
      <dsp:txXfrm>
        <a:off x="6616711" y="3967182"/>
        <a:ext cx="1540656" cy="1332850"/>
      </dsp:txXfrm>
    </dsp:sp>
    <dsp:sp modelId="{CF9674E2-2720-4A0E-A8DF-D74283F00763}">
      <dsp:nvSpPr>
        <dsp:cNvPr id="0" name=""/>
        <dsp:cNvSpPr/>
      </dsp:nvSpPr>
      <dsp:spPr>
        <a:xfrm>
          <a:off x="3867568" y="4887010"/>
          <a:ext cx="1060976" cy="914171"/>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41A671-5F8D-44FF-B1AE-0894B5C8C943}">
      <dsp:nvSpPr>
        <dsp:cNvPr id="0" name=""/>
        <dsp:cNvSpPr/>
      </dsp:nvSpPr>
      <dsp:spPr>
        <a:xfrm>
          <a:off x="4121365" y="4864379"/>
          <a:ext cx="2304450" cy="1993620"/>
        </a:xfrm>
        <a:prstGeom prst="hexagon">
          <a:avLst>
            <a:gd name="adj" fmla="val 28570"/>
            <a:gd name="vf" fmla="val 1154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Cambria" panose="02040503050406030204" pitchFamily="18" charset="0"/>
            </a:rPr>
            <a:t>Citizens &amp; PRI members</a:t>
          </a:r>
        </a:p>
      </dsp:txBody>
      <dsp:txXfrm>
        <a:off x="4503262" y="5194764"/>
        <a:ext cx="1540656" cy="1332850"/>
      </dsp:txXfrm>
    </dsp:sp>
    <dsp:sp modelId="{5D6166CC-2D2F-42E1-B93E-F697001B74D6}">
      <dsp:nvSpPr>
        <dsp:cNvPr id="0" name=""/>
        <dsp:cNvSpPr/>
      </dsp:nvSpPr>
      <dsp:spPr>
        <a:xfrm>
          <a:off x="2609049" y="3178682"/>
          <a:ext cx="1060976" cy="914171"/>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CDA0CE-EC16-4CA9-BD7D-52C4BF852B9D}">
      <dsp:nvSpPr>
        <dsp:cNvPr id="0" name=""/>
        <dsp:cNvSpPr/>
      </dsp:nvSpPr>
      <dsp:spPr>
        <a:xfrm>
          <a:off x="1998105" y="3638168"/>
          <a:ext cx="2304450" cy="1993620"/>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Cambria" panose="02040503050406030204" pitchFamily="18" charset="0"/>
            </a:rPr>
            <a:t>Health managers</a:t>
          </a:r>
        </a:p>
      </dsp:txBody>
      <dsp:txXfrm>
        <a:off x="2380002" y="3968553"/>
        <a:ext cx="1540656" cy="1332850"/>
      </dsp:txXfrm>
    </dsp:sp>
    <dsp:sp modelId="{F8E3663C-D748-4106-8298-D404EE9FD912}">
      <dsp:nvSpPr>
        <dsp:cNvPr id="0" name=""/>
        <dsp:cNvSpPr/>
      </dsp:nvSpPr>
      <dsp:spPr>
        <a:xfrm>
          <a:off x="1998105" y="1223467"/>
          <a:ext cx="2304450" cy="1993620"/>
        </a:xfrm>
        <a:prstGeom prst="hexagon">
          <a:avLst>
            <a:gd name="adj" fmla="val 2857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Cambria" panose="02040503050406030204" pitchFamily="18" charset="0"/>
            </a:rPr>
            <a:t>CM Dashboard for review</a:t>
          </a:r>
        </a:p>
      </dsp:txBody>
      <dsp:txXfrm>
        <a:off x="2380002" y="1553852"/>
        <a:ext cx="1540656" cy="13328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E0D00C-194D-BC4C-BC64-2B22466BA624}">
      <dsp:nvSpPr>
        <dsp:cNvPr id="0" name=""/>
        <dsp:cNvSpPr/>
      </dsp:nvSpPr>
      <dsp:spPr>
        <a:xfrm>
          <a:off x="0" y="459326"/>
          <a:ext cx="5181600"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B99B2A-30F8-8848-BC46-4C6AEDB2373C}">
      <dsp:nvSpPr>
        <dsp:cNvPr id="0" name=""/>
        <dsp:cNvSpPr/>
      </dsp:nvSpPr>
      <dsp:spPr>
        <a:xfrm>
          <a:off x="259080" y="75566"/>
          <a:ext cx="3627120"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097" tIns="0" rIns="137097" bIns="0" numCol="1" spcCol="1270" anchor="ctr" anchorCtr="0">
          <a:noAutofit/>
        </a:bodyPr>
        <a:lstStyle/>
        <a:p>
          <a:pPr marL="0" lvl="0" indent="0" algn="l" defTabSz="1155700">
            <a:lnSpc>
              <a:spcPct val="90000"/>
            </a:lnSpc>
            <a:spcBef>
              <a:spcPct val="0"/>
            </a:spcBef>
            <a:spcAft>
              <a:spcPct val="35000"/>
            </a:spcAft>
            <a:buNone/>
          </a:pPr>
          <a:r>
            <a:rPr lang="en-US" sz="2600" kern="1200" dirty="0"/>
            <a:t>Reduce IMR/ MMR</a:t>
          </a:r>
        </a:p>
      </dsp:txBody>
      <dsp:txXfrm>
        <a:off x="296547" y="113033"/>
        <a:ext cx="3552186" cy="692586"/>
      </dsp:txXfrm>
    </dsp:sp>
    <dsp:sp modelId="{182051DC-BD1A-6A4F-B007-F6DABEBE1B6D}">
      <dsp:nvSpPr>
        <dsp:cNvPr id="0" name=""/>
        <dsp:cNvSpPr/>
      </dsp:nvSpPr>
      <dsp:spPr>
        <a:xfrm>
          <a:off x="0" y="1638686"/>
          <a:ext cx="5181600"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EE83884-64D0-6541-93A9-BE5E50AB1557}">
      <dsp:nvSpPr>
        <dsp:cNvPr id="0" name=""/>
        <dsp:cNvSpPr/>
      </dsp:nvSpPr>
      <dsp:spPr>
        <a:xfrm>
          <a:off x="259080" y="1254926"/>
          <a:ext cx="3627120"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097" tIns="0" rIns="137097" bIns="0" numCol="1" spcCol="1270" anchor="ctr" anchorCtr="0">
          <a:noAutofit/>
        </a:bodyPr>
        <a:lstStyle/>
        <a:p>
          <a:pPr marL="0" lvl="0" indent="0" algn="l" defTabSz="1155700">
            <a:lnSpc>
              <a:spcPct val="90000"/>
            </a:lnSpc>
            <a:spcBef>
              <a:spcPct val="0"/>
            </a:spcBef>
            <a:spcAft>
              <a:spcPct val="35000"/>
            </a:spcAft>
            <a:buNone/>
          </a:pPr>
          <a:r>
            <a:rPr lang="en-US" sz="2600" kern="1200" dirty="0"/>
            <a:t>100% Immunization</a:t>
          </a:r>
        </a:p>
      </dsp:txBody>
      <dsp:txXfrm>
        <a:off x="296547" y="1292393"/>
        <a:ext cx="3552186" cy="692586"/>
      </dsp:txXfrm>
    </dsp:sp>
    <dsp:sp modelId="{7ACDB1DB-414C-A64D-BE12-CB518BA65CD1}">
      <dsp:nvSpPr>
        <dsp:cNvPr id="0" name=""/>
        <dsp:cNvSpPr/>
      </dsp:nvSpPr>
      <dsp:spPr>
        <a:xfrm>
          <a:off x="0" y="2818046"/>
          <a:ext cx="5181600"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4544683-F496-F44E-8661-6B64AA2B453A}">
      <dsp:nvSpPr>
        <dsp:cNvPr id="0" name=""/>
        <dsp:cNvSpPr/>
      </dsp:nvSpPr>
      <dsp:spPr>
        <a:xfrm>
          <a:off x="259080" y="2434286"/>
          <a:ext cx="3627120"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097" tIns="0" rIns="137097" bIns="0" numCol="1" spcCol="1270" anchor="ctr" anchorCtr="0">
          <a:noAutofit/>
        </a:bodyPr>
        <a:lstStyle/>
        <a:p>
          <a:pPr marL="0" lvl="0" indent="0" algn="l" defTabSz="1155700">
            <a:lnSpc>
              <a:spcPct val="90000"/>
            </a:lnSpc>
            <a:spcBef>
              <a:spcPct val="0"/>
            </a:spcBef>
            <a:spcAft>
              <a:spcPct val="35000"/>
            </a:spcAft>
            <a:buNone/>
          </a:pPr>
          <a:r>
            <a:rPr lang="en-US" sz="2600" kern="1200" dirty="0"/>
            <a:t>Reduce Malnutrition</a:t>
          </a:r>
        </a:p>
      </dsp:txBody>
      <dsp:txXfrm>
        <a:off x="296547" y="2471753"/>
        <a:ext cx="3552186" cy="692586"/>
      </dsp:txXfrm>
    </dsp:sp>
    <dsp:sp modelId="{C9E214D3-7CE1-F24A-B61B-927F06C46311}">
      <dsp:nvSpPr>
        <dsp:cNvPr id="0" name=""/>
        <dsp:cNvSpPr/>
      </dsp:nvSpPr>
      <dsp:spPr>
        <a:xfrm>
          <a:off x="0" y="3997406"/>
          <a:ext cx="5181600" cy="655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B56C67-37AF-834B-93D8-38013B0209C3}">
      <dsp:nvSpPr>
        <dsp:cNvPr id="0" name=""/>
        <dsp:cNvSpPr/>
      </dsp:nvSpPr>
      <dsp:spPr>
        <a:xfrm>
          <a:off x="259080" y="3613646"/>
          <a:ext cx="3627120"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097" tIns="0" rIns="137097" bIns="0" numCol="1" spcCol="1270" anchor="ctr" anchorCtr="0">
          <a:noAutofit/>
        </a:bodyPr>
        <a:lstStyle/>
        <a:p>
          <a:pPr marL="0" lvl="0" indent="0" algn="l" defTabSz="1155700">
            <a:lnSpc>
              <a:spcPct val="90000"/>
            </a:lnSpc>
            <a:spcBef>
              <a:spcPct val="0"/>
            </a:spcBef>
            <a:spcAft>
              <a:spcPct val="35000"/>
            </a:spcAft>
            <a:buNone/>
          </a:pPr>
          <a:r>
            <a:rPr lang="en-US" sz="2600" kern="1200" dirty="0"/>
            <a:t>Sex Ratio</a:t>
          </a:r>
        </a:p>
      </dsp:txBody>
      <dsp:txXfrm>
        <a:off x="296547" y="3651113"/>
        <a:ext cx="3552186" cy="6925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FB36C4-66E5-8148-8755-785AEDDF615F}">
      <dsp:nvSpPr>
        <dsp:cNvPr id="0" name=""/>
        <dsp:cNvSpPr/>
      </dsp:nvSpPr>
      <dsp:spPr>
        <a:xfrm>
          <a:off x="2362333" y="3698637"/>
          <a:ext cx="4368743"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65183E-8FB4-8542-8954-E5E0214E40DA}">
      <dsp:nvSpPr>
        <dsp:cNvPr id="0" name=""/>
        <dsp:cNvSpPr/>
      </dsp:nvSpPr>
      <dsp:spPr>
        <a:xfrm>
          <a:off x="2362333" y="2175669"/>
          <a:ext cx="3742150"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EA3F65C-6732-8144-B13F-FD5ED408D96C}">
      <dsp:nvSpPr>
        <dsp:cNvPr id="0" name=""/>
        <dsp:cNvSpPr/>
      </dsp:nvSpPr>
      <dsp:spPr>
        <a:xfrm>
          <a:off x="2362333" y="652700"/>
          <a:ext cx="4368743"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0602443-3C2F-A442-8C61-611ED1863248}">
      <dsp:nvSpPr>
        <dsp:cNvPr id="0" name=""/>
        <dsp:cNvSpPr/>
      </dsp:nvSpPr>
      <dsp:spPr>
        <a:xfrm>
          <a:off x="186664" y="0"/>
          <a:ext cx="4351338" cy="4351338"/>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725E52-5520-134A-A4C9-335CD72EA5B4}">
      <dsp:nvSpPr>
        <dsp:cNvPr id="0" name=""/>
        <dsp:cNvSpPr/>
      </dsp:nvSpPr>
      <dsp:spPr>
        <a:xfrm>
          <a:off x="2624778" y="882265"/>
          <a:ext cx="1903504" cy="2043990"/>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1600200">
            <a:lnSpc>
              <a:spcPct val="90000"/>
            </a:lnSpc>
            <a:spcBef>
              <a:spcPct val="0"/>
            </a:spcBef>
            <a:spcAft>
              <a:spcPct val="35000"/>
            </a:spcAft>
            <a:buNone/>
          </a:pPr>
          <a:r>
            <a:rPr lang="en-US" sz="3600" kern="1200" dirty="0">
              <a:solidFill>
                <a:srgbClr val="FF0000"/>
              </a:solidFill>
            </a:rPr>
            <a:t>Data on Health indicators</a:t>
          </a:r>
        </a:p>
      </dsp:txBody>
      <dsp:txXfrm>
        <a:off x="2624778" y="882265"/>
        <a:ext cx="1903504" cy="2043990"/>
      </dsp:txXfrm>
    </dsp:sp>
    <dsp:sp modelId="{50A7B4B2-9ADD-3B4F-B9DE-67F3734A8F7A}">
      <dsp:nvSpPr>
        <dsp:cNvPr id="0" name=""/>
        <dsp:cNvSpPr/>
      </dsp:nvSpPr>
      <dsp:spPr>
        <a:xfrm>
          <a:off x="6078376" y="0"/>
          <a:ext cx="1305401" cy="1305401"/>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15BFA8B-DCBA-C141-8988-9F979C942723}">
      <dsp:nvSpPr>
        <dsp:cNvPr id="0" name=""/>
        <dsp:cNvSpPr/>
      </dsp:nvSpPr>
      <dsp:spPr>
        <a:xfrm>
          <a:off x="7383777" y="0"/>
          <a:ext cx="2945157"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0" rIns="247650" bIns="0" numCol="1" spcCol="1270" anchor="ctr" anchorCtr="0">
          <a:noAutofit/>
        </a:bodyPr>
        <a:lstStyle/>
        <a:p>
          <a:pPr marL="0" lvl="0" indent="0" algn="l" defTabSz="2889250">
            <a:lnSpc>
              <a:spcPct val="90000"/>
            </a:lnSpc>
            <a:spcBef>
              <a:spcPct val="0"/>
            </a:spcBef>
            <a:spcAft>
              <a:spcPct val="35000"/>
            </a:spcAft>
            <a:buNone/>
          </a:pPr>
          <a:r>
            <a:rPr lang="en-US" sz="6500" kern="1200" dirty="0"/>
            <a:t>Census</a:t>
          </a:r>
        </a:p>
      </dsp:txBody>
      <dsp:txXfrm>
        <a:off x="7383777" y="0"/>
        <a:ext cx="2945157" cy="1305401"/>
      </dsp:txXfrm>
    </dsp:sp>
    <dsp:sp modelId="{9A609329-8BEC-0946-9B30-B44EF865DC65}">
      <dsp:nvSpPr>
        <dsp:cNvPr id="0" name=""/>
        <dsp:cNvSpPr/>
      </dsp:nvSpPr>
      <dsp:spPr>
        <a:xfrm>
          <a:off x="5451783" y="1522968"/>
          <a:ext cx="1305401" cy="1305401"/>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33000" r="-3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97C5A2-E5D2-584C-BCC2-566B4314D777}">
      <dsp:nvSpPr>
        <dsp:cNvPr id="0" name=""/>
        <dsp:cNvSpPr/>
      </dsp:nvSpPr>
      <dsp:spPr>
        <a:xfrm>
          <a:off x="6757185" y="1522968"/>
          <a:ext cx="2391704"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0" rIns="247650" bIns="0" numCol="1" spcCol="1270" anchor="ctr" anchorCtr="0">
          <a:noAutofit/>
        </a:bodyPr>
        <a:lstStyle/>
        <a:p>
          <a:pPr marL="0" lvl="0" indent="0" algn="l" defTabSz="2889250">
            <a:lnSpc>
              <a:spcPct val="90000"/>
            </a:lnSpc>
            <a:spcBef>
              <a:spcPct val="0"/>
            </a:spcBef>
            <a:spcAft>
              <a:spcPct val="35000"/>
            </a:spcAft>
            <a:buNone/>
          </a:pPr>
          <a:r>
            <a:rPr lang="en-US" sz="6500" kern="1200" dirty="0"/>
            <a:t>NFHS</a:t>
          </a:r>
        </a:p>
      </dsp:txBody>
      <dsp:txXfrm>
        <a:off x="6757185" y="1522968"/>
        <a:ext cx="2391704" cy="1305401"/>
      </dsp:txXfrm>
    </dsp:sp>
    <dsp:sp modelId="{AEA31E78-2A98-014E-8CB5-C9CE4ED7920E}">
      <dsp:nvSpPr>
        <dsp:cNvPr id="0" name=""/>
        <dsp:cNvSpPr/>
      </dsp:nvSpPr>
      <dsp:spPr>
        <a:xfrm>
          <a:off x="6078376" y="3045936"/>
          <a:ext cx="1305401" cy="1305401"/>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17000" r="-1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7AC96B-6BD5-C346-A348-C06DF56CE4E8}">
      <dsp:nvSpPr>
        <dsp:cNvPr id="0" name=""/>
        <dsp:cNvSpPr/>
      </dsp:nvSpPr>
      <dsp:spPr>
        <a:xfrm>
          <a:off x="7383777" y="3045936"/>
          <a:ext cx="1731835"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0" rIns="247650" bIns="0" numCol="1" spcCol="1270" anchor="ctr" anchorCtr="0">
          <a:noAutofit/>
        </a:bodyPr>
        <a:lstStyle/>
        <a:p>
          <a:pPr marL="0" lvl="0" indent="0" algn="l" defTabSz="2889250">
            <a:lnSpc>
              <a:spcPct val="90000"/>
            </a:lnSpc>
            <a:spcBef>
              <a:spcPct val="0"/>
            </a:spcBef>
            <a:spcAft>
              <a:spcPct val="35000"/>
            </a:spcAft>
            <a:buNone/>
          </a:pPr>
          <a:r>
            <a:rPr lang="en-US" sz="6500" kern="1200" dirty="0"/>
            <a:t>SRS</a:t>
          </a:r>
        </a:p>
      </dsp:txBody>
      <dsp:txXfrm>
        <a:off x="7383777" y="3045936"/>
        <a:ext cx="1731835" cy="13054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C596C-C5CA-224D-A1F4-DEE9F8036B06}">
      <dsp:nvSpPr>
        <dsp:cNvPr id="0" name=""/>
        <dsp:cNvSpPr/>
      </dsp:nvSpPr>
      <dsp:spPr>
        <a:xfrm rot="2563277">
          <a:off x="4071539" y="3056513"/>
          <a:ext cx="655879" cy="35815"/>
        </a:xfrm>
        <a:custGeom>
          <a:avLst/>
          <a:gdLst/>
          <a:ahLst/>
          <a:cxnLst/>
          <a:rect l="0" t="0" r="0" b="0"/>
          <a:pathLst>
            <a:path>
              <a:moveTo>
                <a:pt x="0" y="17907"/>
              </a:moveTo>
              <a:lnTo>
                <a:pt x="655879" y="1790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7334239-CFEB-1A41-9F85-7B49D14E86E9}">
      <dsp:nvSpPr>
        <dsp:cNvPr id="0" name=""/>
        <dsp:cNvSpPr/>
      </dsp:nvSpPr>
      <dsp:spPr>
        <a:xfrm>
          <a:off x="4158553" y="2157761"/>
          <a:ext cx="729839" cy="35815"/>
        </a:xfrm>
        <a:custGeom>
          <a:avLst/>
          <a:gdLst/>
          <a:ahLst/>
          <a:cxnLst/>
          <a:rect l="0" t="0" r="0" b="0"/>
          <a:pathLst>
            <a:path>
              <a:moveTo>
                <a:pt x="0" y="17907"/>
              </a:moveTo>
              <a:lnTo>
                <a:pt x="729839" y="1790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AFC762-22B8-4E47-AB3F-5872EC60ADA9}">
      <dsp:nvSpPr>
        <dsp:cNvPr id="0" name=""/>
        <dsp:cNvSpPr/>
      </dsp:nvSpPr>
      <dsp:spPr>
        <a:xfrm rot="19036723">
          <a:off x="4071539" y="1259008"/>
          <a:ext cx="655879" cy="35815"/>
        </a:xfrm>
        <a:custGeom>
          <a:avLst/>
          <a:gdLst/>
          <a:ahLst/>
          <a:cxnLst/>
          <a:rect l="0" t="0" r="0" b="0"/>
          <a:pathLst>
            <a:path>
              <a:moveTo>
                <a:pt x="0" y="17907"/>
              </a:moveTo>
              <a:lnTo>
                <a:pt x="655879" y="1790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55443F-B60F-1745-B677-10681015C5BA}">
      <dsp:nvSpPr>
        <dsp:cNvPr id="0" name=""/>
        <dsp:cNvSpPr/>
      </dsp:nvSpPr>
      <dsp:spPr>
        <a:xfrm>
          <a:off x="2363160" y="1187395"/>
          <a:ext cx="2126149" cy="197654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8000" r="-2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D656B5-4244-3A40-B8A4-6B59A62439D0}">
      <dsp:nvSpPr>
        <dsp:cNvPr id="0" name=""/>
        <dsp:cNvSpPr/>
      </dsp:nvSpPr>
      <dsp:spPr>
        <a:xfrm>
          <a:off x="4473851" y="877"/>
          <a:ext cx="1255402" cy="125540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Data Integrity</a:t>
          </a:r>
        </a:p>
      </dsp:txBody>
      <dsp:txXfrm>
        <a:off x="4657700" y="184726"/>
        <a:ext cx="887704" cy="887704"/>
      </dsp:txXfrm>
    </dsp:sp>
    <dsp:sp modelId="{124DA6A8-4F1B-4446-9AEE-AD37A9FDD4EE}">
      <dsp:nvSpPr>
        <dsp:cNvPr id="0" name=""/>
        <dsp:cNvSpPr/>
      </dsp:nvSpPr>
      <dsp:spPr>
        <a:xfrm>
          <a:off x="5854793" y="877"/>
          <a:ext cx="1883103" cy="12554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t>Sample data</a:t>
          </a:r>
        </a:p>
        <a:p>
          <a:pPr marL="228600" lvl="1" indent="-228600" algn="l" defTabSz="933450">
            <a:lnSpc>
              <a:spcPct val="90000"/>
            </a:lnSpc>
            <a:spcBef>
              <a:spcPct val="0"/>
            </a:spcBef>
            <a:spcAft>
              <a:spcPct val="15000"/>
            </a:spcAft>
            <a:buChar char="•"/>
          </a:pPr>
          <a:r>
            <a:rPr lang="en-US" sz="2100" kern="1200" dirty="0"/>
            <a:t>Multiplicity of reports</a:t>
          </a:r>
        </a:p>
      </dsp:txBody>
      <dsp:txXfrm>
        <a:off x="5854793" y="877"/>
        <a:ext cx="1883103" cy="1255402"/>
      </dsp:txXfrm>
    </dsp:sp>
    <dsp:sp modelId="{0D010126-D357-604D-8E01-825DCAEE6080}">
      <dsp:nvSpPr>
        <dsp:cNvPr id="0" name=""/>
        <dsp:cNvSpPr/>
      </dsp:nvSpPr>
      <dsp:spPr>
        <a:xfrm>
          <a:off x="4888392" y="1547967"/>
          <a:ext cx="1255402" cy="125540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Lag in data</a:t>
          </a:r>
        </a:p>
      </dsp:txBody>
      <dsp:txXfrm>
        <a:off x="5072241" y="1731816"/>
        <a:ext cx="887704" cy="887704"/>
      </dsp:txXfrm>
    </dsp:sp>
    <dsp:sp modelId="{4CD3227A-6440-1044-BF1C-31E1898FFABA}">
      <dsp:nvSpPr>
        <dsp:cNvPr id="0" name=""/>
        <dsp:cNvSpPr/>
      </dsp:nvSpPr>
      <dsp:spPr>
        <a:xfrm>
          <a:off x="6269335" y="1547967"/>
          <a:ext cx="1883103" cy="12554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t>Census</a:t>
          </a:r>
        </a:p>
        <a:p>
          <a:pPr marL="228600" lvl="1" indent="-228600" algn="l" defTabSz="933450">
            <a:lnSpc>
              <a:spcPct val="90000"/>
            </a:lnSpc>
            <a:spcBef>
              <a:spcPct val="0"/>
            </a:spcBef>
            <a:spcAft>
              <a:spcPct val="15000"/>
            </a:spcAft>
            <a:buChar char="•"/>
          </a:pPr>
          <a:r>
            <a:rPr lang="en-US" sz="2100" kern="1200" dirty="0"/>
            <a:t>NFHS</a:t>
          </a:r>
        </a:p>
      </dsp:txBody>
      <dsp:txXfrm>
        <a:off x="6269335" y="1547967"/>
        <a:ext cx="1883103" cy="1255402"/>
      </dsp:txXfrm>
    </dsp:sp>
    <dsp:sp modelId="{4C224D8C-3AEF-2446-987B-BA5D52847100}">
      <dsp:nvSpPr>
        <dsp:cNvPr id="0" name=""/>
        <dsp:cNvSpPr/>
      </dsp:nvSpPr>
      <dsp:spPr>
        <a:xfrm>
          <a:off x="4473851" y="3095057"/>
          <a:ext cx="1255402" cy="125540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Data Analysis</a:t>
          </a:r>
        </a:p>
      </dsp:txBody>
      <dsp:txXfrm>
        <a:off x="4657700" y="3278906"/>
        <a:ext cx="887704" cy="887704"/>
      </dsp:txXfrm>
    </dsp:sp>
    <dsp:sp modelId="{77F8FBF1-4AFC-D848-A162-A8547E86E0BD}">
      <dsp:nvSpPr>
        <dsp:cNvPr id="0" name=""/>
        <dsp:cNvSpPr/>
      </dsp:nvSpPr>
      <dsp:spPr>
        <a:xfrm>
          <a:off x="5854793" y="3095057"/>
          <a:ext cx="1883103" cy="12554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t>District/ Taluka/ Village</a:t>
          </a:r>
        </a:p>
        <a:p>
          <a:pPr marL="228600" lvl="1" indent="-228600" algn="l" defTabSz="933450">
            <a:lnSpc>
              <a:spcPct val="90000"/>
            </a:lnSpc>
            <a:spcBef>
              <a:spcPct val="0"/>
            </a:spcBef>
            <a:spcAft>
              <a:spcPct val="15000"/>
            </a:spcAft>
            <a:buChar char="•"/>
          </a:pPr>
          <a:r>
            <a:rPr lang="en-US" sz="2100" kern="1200" dirty="0"/>
            <a:t>Data visualization</a:t>
          </a:r>
        </a:p>
      </dsp:txBody>
      <dsp:txXfrm>
        <a:off x="5854793" y="3095057"/>
        <a:ext cx="1883103" cy="12554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FDBE86-6788-42BB-A8A3-45ABA679B34E}">
      <dsp:nvSpPr>
        <dsp:cNvPr id="0" name=""/>
        <dsp:cNvSpPr/>
      </dsp:nvSpPr>
      <dsp:spPr>
        <a:xfrm>
          <a:off x="914399" y="0"/>
          <a:ext cx="10363200" cy="3730170"/>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6905AA-B44B-473C-9FF0-48E1C50CA6CB}">
      <dsp:nvSpPr>
        <dsp:cNvPr id="0" name=""/>
        <dsp:cNvSpPr/>
      </dsp:nvSpPr>
      <dsp:spPr>
        <a:xfrm>
          <a:off x="148" y="1119050"/>
          <a:ext cx="1784151" cy="1492068"/>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Cambria" panose="02040503050406030204" pitchFamily="18" charset="0"/>
            </a:rPr>
            <a:t>2009</a:t>
          </a:r>
        </a:p>
        <a:p>
          <a:pPr marL="0" lvl="0" indent="0" algn="ctr" defTabSz="1066800">
            <a:lnSpc>
              <a:spcPct val="90000"/>
            </a:lnSpc>
            <a:spcBef>
              <a:spcPct val="0"/>
            </a:spcBef>
            <a:spcAft>
              <a:spcPct val="35000"/>
            </a:spcAft>
            <a:buNone/>
          </a:pPr>
          <a:r>
            <a:rPr lang="en-US" sz="2400" kern="1200" dirty="0">
              <a:latin typeface="Cambria" panose="02040503050406030204" pitchFamily="18" charset="0"/>
            </a:rPr>
            <a:t>Janani Program</a:t>
          </a:r>
        </a:p>
      </dsp:txBody>
      <dsp:txXfrm>
        <a:off x="72985" y="1191887"/>
        <a:ext cx="1638477" cy="1346394"/>
      </dsp:txXfrm>
    </dsp:sp>
    <dsp:sp modelId="{593A1CAA-B3A4-4818-9B66-C96C4F01E90E}">
      <dsp:nvSpPr>
        <dsp:cNvPr id="0" name=""/>
        <dsp:cNvSpPr/>
      </dsp:nvSpPr>
      <dsp:spPr>
        <a:xfrm>
          <a:off x="2081658" y="1119050"/>
          <a:ext cx="1784151" cy="1492068"/>
        </a:xfrm>
        <a:prstGeom prst="roundRect">
          <a:avLst/>
        </a:prstGeom>
        <a:solidFill>
          <a:schemeClr val="accent4">
            <a:hueOff val="2079139"/>
            <a:satOff val="-9594"/>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Cambria" panose="02040503050406030204" pitchFamily="18" charset="0"/>
            </a:rPr>
            <a:t>2013</a:t>
          </a:r>
        </a:p>
        <a:p>
          <a:pPr marL="0" lvl="0" indent="0" algn="ctr" defTabSz="1066800">
            <a:lnSpc>
              <a:spcPct val="90000"/>
            </a:lnSpc>
            <a:spcBef>
              <a:spcPct val="0"/>
            </a:spcBef>
            <a:spcAft>
              <a:spcPct val="35000"/>
            </a:spcAft>
            <a:buNone/>
          </a:pPr>
          <a:r>
            <a:rPr lang="en-US" sz="2400" kern="1200" dirty="0">
              <a:latin typeface="Cambria" panose="02040503050406030204" pitchFamily="18" charset="0"/>
            </a:rPr>
            <a:t>ImTeCHO</a:t>
          </a:r>
        </a:p>
      </dsp:txBody>
      <dsp:txXfrm>
        <a:off x="2154495" y="1191887"/>
        <a:ext cx="1638477" cy="1346394"/>
      </dsp:txXfrm>
    </dsp:sp>
    <dsp:sp modelId="{8DDBE84A-52A5-4628-9E00-6D449EA68700}">
      <dsp:nvSpPr>
        <dsp:cNvPr id="0" name=""/>
        <dsp:cNvSpPr/>
      </dsp:nvSpPr>
      <dsp:spPr>
        <a:xfrm>
          <a:off x="4163169" y="1119050"/>
          <a:ext cx="1784151" cy="1492068"/>
        </a:xfrm>
        <a:prstGeom prst="roundRect">
          <a:avLst/>
        </a:prstGeom>
        <a:solidFill>
          <a:schemeClr val="accent4">
            <a:hueOff val="4158277"/>
            <a:satOff val="-19187"/>
            <a:lumOff val="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Cambria" panose="02040503050406030204" pitchFamily="18" charset="0"/>
            </a:rPr>
            <a:t>October 2017</a:t>
          </a:r>
        </a:p>
        <a:p>
          <a:pPr marL="0" lvl="0" indent="0" algn="ctr" defTabSz="1066800">
            <a:lnSpc>
              <a:spcPct val="90000"/>
            </a:lnSpc>
            <a:spcBef>
              <a:spcPct val="0"/>
            </a:spcBef>
            <a:spcAft>
              <a:spcPct val="35000"/>
            </a:spcAft>
            <a:buNone/>
          </a:pPr>
          <a:r>
            <a:rPr lang="en-US" sz="2400" kern="1200" dirty="0">
              <a:latin typeface="Cambria" panose="02040503050406030204" pitchFamily="18" charset="0"/>
            </a:rPr>
            <a:t>TeCHO+</a:t>
          </a:r>
        </a:p>
      </dsp:txBody>
      <dsp:txXfrm>
        <a:off x="4236006" y="1191887"/>
        <a:ext cx="1638477" cy="1346394"/>
      </dsp:txXfrm>
    </dsp:sp>
    <dsp:sp modelId="{71B428AD-726D-4B6C-B70E-090DD79E174A}">
      <dsp:nvSpPr>
        <dsp:cNvPr id="0" name=""/>
        <dsp:cNvSpPr/>
      </dsp:nvSpPr>
      <dsp:spPr>
        <a:xfrm>
          <a:off x="6244679" y="1119050"/>
          <a:ext cx="1784151" cy="1492068"/>
        </a:xfrm>
        <a:prstGeom prst="roundRect">
          <a:avLst/>
        </a:prstGeom>
        <a:solidFill>
          <a:schemeClr val="accent4">
            <a:hueOff val="6237415"/>
            <a:satOff val="-28781"/>
            <a:lumOff val="1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Cambria" panose="02040503050406030204" pitchFamily="18" charset="0"/>
            </a:rPr>
            <a:t>Apr 2019</a:t>
          </a:r>
        </a:p>
        <a:p>
          <a:pPr marL="0" lvl="0" indent="0" algn="ctr" defTabSz="1066800">
            <a:lnSpc>
              <a:spcPct val="90000"/>
            </a:lnSpc>
            <a:spcBef>
              <a:spcPct val="0"/>
            </a:spcBef>
            <a:spcAft>
              <a:spcPct val="35000"/>
            </a:spcAft>
            <a:buNone/>
          </a:pPr>
          <a:r>
            <a:rPr lang="en-US" sz="2400" kern="1200" dirty="0">
              <a:latin typeface="Cambria" panose="02040503050406030204" pitchFamily="18" charset="0"/>
            </a:rPr>
            <a:t>State of Health</a:t>
          </a:r>
        </a:p>
      </dsp:txBody>
      <dsp:txXfrm>
        <a:off x="6317516" y="1191887"/>
        <a:ext cx="1638477" cy="1346394"/>
      </dsp:txXfrm>
    </dsp:sp>
    <dsp:sp modelId="{7CB22605-0EE1-4458-9E47-43227C4046C2}">
      <dsp:nvSpPr>
        <dsp:cNvPr id="0" name=""/>
        <dsp:cNvSpPr/>
      </dsp:nvSpPr>
      <dsp:spPr>
        <a:xfrm>
          <a:off x="8326189" y="1119050"/>
          <a:ext cx="1784151" cy="1492068"/>
        </a:xfrm>
        <a:prstGeom prst="roundRect">
          <a:avLst/>
        </a:prstGeom>
        <a:solidFill>
          <a:schemeClr val="accent4">
            <a:hueOff val="8316554"/>
            <a:satOff val="-38374"/>
            <a:lumOff val="1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Cambria" panose="02040503050406030204" pitchFamily="18" charset="0"/>
            </a:rPr>
            <a:t>Nov 2019</a:t>
          </a:r>
        </a:p>
        <a:p>
          <a:pPr marL="0" lvl="0" indent="0" algn="ctr" defTabSz="1066800">
            <a:lnSpc>
              <a:spcPct val="90000"/>
            </a:lnSpc>
            <a:spcBef>
              <a:spcPct val="0"/>
            </a:spcBef>
            <a:spcAft>
              <a:spcPct val="35000"/>
            </a:spcAft>
            <a:buNone/>
          </a:pPr>
          <a:r>
            <a:rPr lang="en-US" sz="2400" kern="1200" dirty="0">
              <a:latin typeface="Cambria" panose="02040503050406030204" pitchFamily="18" charset="0"/>
            </a:rPr>
            <a:t>My TeCHO</a:t>
          </a:r>
        </a:p>
      </dsp:txBody>
      <dsp:txXfrm>
        <a:off x="8399026" y="1191887"/>
        <a:ext cx="1638477" cy="1346394"/>
      </dsp:txXfrm>
    </dsp:sp>
    <dsp:sp modelId="{F2BC0286-1DAC-4C17-AB8A-E273EC4ADAF0}">
      <dsp:nvSpPr>
        <dsp:cNvPr id="0" name=""/>
        <dsp:cNvSpPr/>
      </dsp:nvSpPr>
      <dsp:spPr>
        <a:xfrm>
          <a:off x="10407699" y="1119050"/>
          <a:ext cx="1784151" cy="1492068"/>
        </a:xfrm>
        <a:prstGeom prst="roundRect">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Cambria" panose="02040503050406030204" pitchFamily="18" charset="0"/>
            </a:rPr>
            <a:t>Coming Soon…</a:t>
          </a:r>
        </a:p>
        <a:p>
          <a:pPr marL="0" lvl="0" indent="0" algn="ctr" defTabSz="1066800">
            <a:lnSpc>
              <a:spcPct val="90000"/>
            </a:lnSpc>
            <a:spcBef>
              <a:spcPct val="0"/>
            </a:spcBef>
            <a:spcAft>
              <a:spcPct val="35000"/>
            </a:spcAft>
            <a:buNone/>
          </a:pPr>
          <a:r>
            <a:rPr lang="en-US" sz="2400" kern="1200" dirty="0">
              <a:latin typeface="Cambria" panose="02040503050406030204" pitchFamily="18" charset="0"/>
            </a:rPr>
            <a:t>Dr. TeCHO</a:t>
          </a:r>
        </a:p>
      </dsp:txBody>
      <dsp:txXfrm>
        <a:off x="10480536" y="1191887"/>
        <a:ext cx="1638477" cy="134639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8CCB56-2F93-734E-AFB2-8B85D1011758}">
      <dsp:nvSpPr>
        <dsp:cNvPr id="0" name=""/>
        <dsp:cNvSpPr/>
      </dsp:nvSpPr>
      <dsp:spPr>
        <a:xfrm rot="5400000">
          <a:off x="241531" y="1022431"/>
          <a:ext cx="720582" cy="1199033"/>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840444-51BC-434C-AA76-1440172CBB4C}">
      <dsp:nvSpPr>
        <dsp:cNvPr id="0" name=""/>
        <dsp:cNvSpPr/>
      </dsp:nvSpPr>
      <dsp:spPr>
        <a:xfrm>
          <a:off x="121248" y="1380684"/>
          <a:ext cx="1082494" cy="9488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E-</a:t>
          </a:r>
          <a:r>
            <a:rPr lang="en-US" sz="2400" kern="1200" dirty="0" err="1"/>
            <a:t>Mamta</a:t>
          </a:r>
          <a:endParaRPr lang="en-US" sz="2400" kern="1200" dirty="0"/>
        </a:p>
      </dsp:txBody>
      <dsp:txXfrm>
        <a:off x="121248" y="1380684"/>
        <a:ext cx="1082494" cy="948869"/>
      </dsp:txXfrm>
    </dsp:sp>
    <dsp:sp modelId="{AA91A3B7-DBA7-2245-A483-52E727678875}">
      <dsp:nvSpPr>
        <dsp:cNvPr id="0" name=""/>
        <dsp:cNvSpPr/>
      </dsp:nvSpPr>
      <dsp:spPr>
        <a:xfrm>
          <a:off x="999498" y="934157"/>
          <a:ext cx="204244" cy="204244"/>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B48418-9CA8-1148-B675-6D28820A37D2}">
      <dsp:nvSpPr>
        <dsp:cNvPr id="0" name=""/>
        <dsp:cNvSpPr/>
      </dsp:nvSpPr>
      <dsp:spPr>
        <a:xfrm rot="5400000">
          <a:off x="1566715" y="694513"/>
          <a:ext cx="720582" cy="1199033"/>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92E5A36-E87A-3740-B0BA-6A7EE98C7E46}">
      <dsp:nvSpPr>
        <dsp:cNvPr id="0" name=""/>
        <dsp:cNvSpPr/>
      </dsp:nvSpPr>
      <dsp:spPr>
        <a:xfrm>
          <a:off x="1446432" y="1052765"/>
          <a:ext cx="1082494" cy="9488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IM TECHO</a:t>
          </a:r>
        </a:p>
      </dsp:txBody>
      <dsp:txXfrm>
        <a:off x="1446432" y="1052765"/>
        <a:ext cx="1082494" cy="948869"/>
      </dsp:txXfrm>
    </dsp:sp>
    <dsp:sp modelId="{0D24ABF3-9F18-404B-A01F-0FC8535DE171}">
      <dsp:nvSpPr>
        <dsp:cNvPr id="0" name=""/>
        <dsp:cNvSpPr/>
      </dsp:nvSpPr>
      <dsp:spPr>
        <a:xfrm>
          <a:off x="2324682" y="606239"/>
          <a:ext cx="204244" cy="204244"/>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88B273-EA8E-8B4C-9DB3-C3412561982C}">
      <dsp:nvSpPr>
        <dsp:cNvPr id="0" name=""/>
        <dsp:cNvSpPr/>
      </dsp:nvSpPr>
      <dsp:spPr>
        <a:xfrm rot="5400000">
          <a:off x="2891899" y="366595"/>
          <a:ext cx="720582" cy="1199033"/>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5D9F15-1BFC-F94E-9C2E-59FDD96F641F}">
      <dsp:nvSpPr>
        <dsp:cNvPr id="0" name=""/>
        <dsp:cNvSpPr/>
      </dsp:nvSpPr>
      <dsp:spPr>
        <a:xfrm>
          <a:off x="2771616" y="724847"/>
          <a:ext cx="1082494" cy="9488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dirty="0" err="1"/>
            <a:t>TeCHO</a:t>
          </a:r>
          <a:endParaRPr lang="en-US" sz="2200" kern="1200" dirty="0"/>
        </a:p>
      </dsp:txBody>
      <dsp:txXfrm>
        <a:off x="2771616" y="724847"/>
        <a:ext cx="1082494" cy="948869"/>
      </dsp:txXfrm>
    </dsp:sp>
    <dsp:sp modelId="{201457A4-A78A-0644-8E0D-5228E7943D92}">
      <dsp:nvSpPr>
        <dsp:cNvPr id="0" name=""/>
        <dsp:cNvSpPr/>
      </dsp:nvSpPr>
      <dsp:spPr>
        <a:xfrm>
          <a:off x="3649866" y="278320"/>
          <a:ext cx="204244" cy="204244"/>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0CDBE4-EA10-074C-82F9-8A666CD60476}">
      <dsp:nvSpPr>
        <dsp:cNvPr id="0" name=""/>
        <dsp:cNvSpPr/>
      </dsp:nvSpPr>
      <dsp:spPr>
        <a:xfrm rot="5400000">
          <a:off x="4217084" y="38676"/>
          <a:ext cx="720582" cy="1199033"/>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2E36AF-927C-EB48-8386-2060F6C3042B}">
      <dsp:nvSpPr>
        <dsp:cNvPr id="0" name=""/>
        <dsp:cNvSpPr/>
      </dsp:nvSpPr>
      <dsp:spPr>
        <a:xfrm>
          <a:off x="4096800" y="396929"/>
          <a:ext cx="1082494" cy="9488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a:lnSpc>
              <a:spcPct val="90000"/>
            </a:lnSpc>
            <a:spcBef>
              <a:spcPct val="0"/>
            </a:spcBef>
            <a:spcAft>
              <a:spcPct val="35000"/>
            </a:spcAft>
            <a:buNone/>
          </a:pPr>
          <a:r>
            <a:rPr lang="en-US" sz="2200" kern="1200" dirty="0" err="1"/>
            <a:t>TeCHO</a:t>
          </a:r>
          <a:r>
            <a:rPr lang="en-US" sz="2200" kern="1200" dirty="0"/>
            <a:t>+</a:t>
          </a:r>
        </a:p>
      </dsp:txBody>
      <dsp:txXfrm>
        <a:off x="4096800" y="396929"/>
        <a:ext cx="1082494" cy="94886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7DD039-AE1C-4A15-8957-A62513B4171F}">
      <dsp:nvSpPr>
        <dsp:cNvPr id="0" name=""/>
        <dsp:cNvSpPr/>
      </dsp:nvSpPr>
      <dsp:spPr>
        <a:xfrm>
          <a:off x="0" y="3233"/>
          <a:ext cx="4516016" cy="111937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E96E92C-8F8C-4C82-B5DA-6497926265C3}">
      <dsp:nvSpPr>
        <dsp:cNvPr id="0" name=""/>
        <dsp:cNvSpPr/>
      </dsp:nvSpPr>
      <dsp:spPr>
        <a:xfrm>
          <a:off x="338610" y="255092"/>
          <a:ext cx="615656" cy="615656"/>
        </a:xfrm>
        <a:prstGeom prst="rect">
          <a:avLst/>
        </a:prstGeom>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8E70872-9928-4564-9558-3A1DD961BE38}">
      <dsp:nvSpPr>
        <dsp:cNvPr id="0" name=""/>
        <dsp:cNvSpPr/>
      </dsp:nvSpPr>
      <dsp:spPr>
        <a:xfrm>
          <a:off x="1292877" y="3233"/>
          <a:ext cx="2937297" cy="1119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467" tIns="118467" rIns="118467" bIns="118467" numCol="1" spcCol="1270" anchor="ctr" anchorCtr="0">
          <a:noAutofit/>
        </a:bodyPr>
        <a:lstStyle/>
        <a:p>
          <a:pPr marL="0" lvl="0" indent="0" algn="l" defTabSz="1333500">
            <a:lnSpc>
              <a:spcPct val="90000"/>
            </a:lnSpc>
            <a:spcBef>
              <a:spcPct val="0"/>
            </a:spcBef>
            <a:spcAft>
              <a:spcPct val="35000"/>
            </a:spcAft>
            <a:buNone/>
          </a:pPr>
          <a:r>
            <a:rPr lang="en-US" sz="3000" kern="1200" dirty="0">
              <a:latin typeface="Cambria" panose="02040503050406030204" pitchFamily="18" charset="0"/>
            </a:rPr>
            <a:t>Geo Tagging</a:t>
          </a:r>
          <a:r>
            <a:rPr lang="en-US" sz="3000" kern="1200" baseline="0" dirty="0">
              <a:latin typeface="Cambria" panose="02040503050406030204" pitchFamily="18" charset="0"/>
            </a:rPr>
            <a:t> enabled </a:t>
          </a:r>
          <a:endParaRPr lang="en-US" sz="3000" kern="1200" dirty="0">
            <a:latin typeface="Cambria" panose="02040503050406030204" pitchFamily="18" charset="0"/>
          </a:endParaRPr>
        </a:p>
      </dsp:txBody>
      <dsp:txXfrm>
        <a:off x="1292877" y="3233"/>
        <a:ext cx="2937297" cy="1119374"/>
      </dsp:txXfrm>
    </dsp:sp>
    <dsp:sp modelId="{637DCEFC-6E41-42C6-8110-3CB32D5A9686}">
      <dsp:nvSpPr>
        <dsp:cNvPr id="0" name=""/>
        <dsp:cNvSpPr/>
      </dsp:nvSpPr>
      <dsp:spPr>
        <a:xfrm>
          <a:off x="0" y="1393971"/>
          <a:ext cx="4516016" cy="111937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129673-895B-4A0A-8E0D-07098ACE0E28}">
      <dsp:nvSpPr>
        <dsp:cNvPr id="0" name=""/>
        <dsp:cNvSpPr/>
      </dsp:nvSpPr>
      <dsp:spPr>
        <a:xfrm>
          <a:off x="338610" y="1645830"/>
          <a:ext cx="615656" cy="615656"/>
        </a:xfrm>
        <a:prstGeom prst="rect">
          <a:avLst/>
        </a:prstGeom>
        <a:blipFill>
          <a:blip xmlns:r="http://schemas.openxmlformats.org/officeDocument/2006/relationships"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57D00EF-E42A-40E6-B860-D23F3B8FFD28}">
      <dsp:nvSpPr>
        <dsp:cNvPr id="0" name=""/>
        <dsp:cNvSpPr/>
      </dsp:nvSpPr>
      <dsp:spPr>
        <a:xfrm>
          <a:off x="1292877" y="1393971"/>
          <a:ext cx="2937297" cy="1119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467" tIns="118467" rIns="118467" bIns="118467" numCol="1" spcCol="1270" anchor="ctr" anchorCtr="0">
          <a:noAutofit/>
        </a:bodyPr>
        <a:lstStyle/>
        <a:p>
          <a:pPr marL="0" lvl="0" indent="0" algn="l" defTabSz="1333500">
            <a:lnSpc>
              <a:spcPct val="90000"/>
            </a:lnSpc>
            <a:spcBef>
              <a:spcPct val="0"/>
            </a:spcBef>
            <a:spcAft>
              <a:spcPct val="35000"/>
            </a:spcAft>
            <a:buNone/>
          </a:pPr>
          <a:r>
            <a:rPr lang="en-US" sz="3000" kern="1200" baseline="0" dirty="0">
              <a:latin typeface="Cambria" panose="02040503050406030204" pitchFamily="18" charset="0"/>
            </a:rPr>
            <a:t>Tracking of time spend in visit</a:t>
          </a:r>
          <a:endParaRPr lang="en-US" sz="3000" kern="1200" dirty="0">
            <a:latin typeface="Cambria" panose="02040503050406030204" pitchFamily="18" charset="0"/>
          </a:endParaRPr>
        </a:p>
      </dsp:txBody>
      <dsp:txXfrm>
        <a:off x="1292877" y="1393971"/>
        <a:ext cx="2937297" cy="1119374"/>
      </dsp:txXfrm>
    </dsp:sp>
    <dsp:sp modelId="{8BD37088-0F35-4FB8-95D5-508113C7597B}">
      <dsp:nvSpPr>
        <dsp:cNvPr id="0" name=""/>
        <dsp:cNvSpPr/>
      </dsp:nvSpPr>
      <dsp:spPr>
        <a:xfrm>
          <a:off x="0" y="2784709"/>
          <a:ext cx="4516016" cy="111937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61E2F1-F8C9-49E0-A912-975092662E1D}">
      <dsp:nvSpPr>
        <dsp:cNvPr id="0" name=""/>
        <dsp:cNvSpPr/>
      </dsp:nvSpPr>
      <dsp:spPr>
        <a:xfrm>
          <a:off x="338610" y="3036568"/>
          <a:ext cx="615656" cy="615656"/>
        </a:xfrm>
        <a:prstGeom prst="rect">
          <a:avLst/>
        </a:prstGeom>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CD8C123-5E61-4C6D-A08A-37C7337A26A5}">
      <dsp:nvSpPr>
        <dsp:cNvPr id="0" name=""/>
        <dsp:cNvSpPr/>
      </dsp:nvSpPr>
      <dsp:spPr>
        <a:xfrm>
          <a:off x="1292877" y="2784709"/>
          <a:ext cx="2937297" cy="1119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467" tIns="118467" rIns="118467" bIns="118467" numCol="1" spcCol="1270" anchor="ctr" anchorCtr="0">
          <a:noAutofit/>
        </a:bodyPr>
        <a:lstStyle/>
        <a:p>
          <a:pPr marL="0" lvl="0" indent="0" algn="l" defTabSz="1333500">
            <a:lnSpc>
              <a:spcPct val="90000"/>
            </a:lnSpc>
            <a:spcBef>
              <a:spcPct val="0"/>
            </a:spcBef>
            <a:spcAft>
              <a:spcPct val="35000"/>
            </a:spcAft>
            <a:buNone/>
          </a:pPr>
          <a:r>
            <a:rPr lang="en-US" sz="3000" kern="1200" baseline="0" dirty="0">
              <a:latin typeface="Cambria" panose="02040503050406030204" pitchFamily="18" charset="0"/>
            </a:rPr>
            <a:t>Geo Fencing enabled </a:t>
          </a:r>
          <a:endParaRPr lang="en-US" sz="3000" kern="1200" dirty="0">
            <a:latin typeface="Cambria" panose="02040503050406030204" pitchFamily="18" charset="0"/>
          </a:endParaRPr>
        </a:p>
      </dsp:txBody>
      <dsp:txXfrm>
        <a:off x="1292877" y="2784709"/>
        <a:ext cx="2937297" cy="1119374"/>
      </dsp:txXfrm>
    </dsp:sp>
    <dsp:sp modelId="{19F0263E-1EEE-4C78-97A6-04A69BB3B483}">
      <dsp:nvSpPr>
        <dsp:cNvPr id="0" name=""/>
        <dsp:cNvSpPr/>
      </dsp:nvSpPr>
      <dsp:spPr>
        <a:xfrm>
          <a:off x="0" y="4175447"/>
          <a:ext cx="4516016" cy="111937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115174-E89F-4EF6-92EC-45FAB2115A7A}">
      <dsp:nvSpPr>
        <dsp:cNvPr id="0" name=""/>
        <dsp:cNvSpPr/>
      </dsp:nvSpPr>
      <dsp:spPr>
        <a:xfrm>
          <a:off x="338610" y="4427306"/>
          <a:ext cx="615656" cy="615656"/>
        </a:xfrm>
        <a:prstGeom prst="rect">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l="-20000" r="-20000"/>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D78AF3-795E-4F48-8614-DADD7A04A27E}">
      <dsp:nvSpPr>
        <dsp:cNvPr id="0" name=""/>
        <dsp:cNvSpPr/>
      </dsp:nvSpPr>
      <dsp:spPr>
        <a:xfrm>
          <a:off x="1213144" y="4175447"/>
          <a:ext cx="3096763" cy="1119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467" tIns="118467" rIns="118467" bIns="118467" numCol="1" spcCol="1270" anchor="ctr" anchorCtr="0">
          <a:noAutofit/>
        </a:bodyPr>
        <a:lstStyle/>
        <a:p>
          <a:pPr marL="0" lvl="0" indent="0" algn="l" defTabSz="957263">
            <a:lnSpc>
              <a:spcPct val="90000"/>
            </a:lnSpc>
            <a:spcBef>
              <a:spcPct val="0"/>
            </a:spcBef>
            <a:spcAft>
              <a:spcPct val="35000"/>
            </a:spcAft>
            <a:buNone/>
          </a:pPr>
          <a:r>
            <a:rPr lang="en-US" sz="3000" kern="1200" baseline="0" dirty="0">
              <a:latin typeface="Cambria" panose="02040503050406030204" pitchFamily="18" charset="0"/>
            </a:rPr>
            <a:t>Big Data Analysis  &amp;Visualization</a:t>
          </a:r>
        </a:p>
      </dsp:txBody>
      <dsp:txXfrm>
        <a:off x="1213144" y="4175447"/>
        <a:ext cx="3096763" cy="111937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9BCC68-0384-42A5-A50F-B67F372ED19F}">
      <dsp:nvSpPr>
        <dsp:cNvPr id="0" name=""/>
        <dsp:cNvSpPr/>
      </dsp:nvSpPr>
      <dsp:spPr>
        <a:xfrm>
          <a:off x="2288573" y="2212390"/>
          <a:ext cx="2812044" cy="2432532"/>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rPr>
            <a:t>Health Nurturance &amp; Transformation Hub</a:t>
          </a:r>
        </a:p>
      </dsp:txBody>
      <dsp:txXfrm>
        <a:off x="2754568" y="2615495"/>
        <a:ext cx="1880054" cy="1626322"/>
      </dsp:txXfrm>
    </dsp:sp>
    <dsp:sp modelId="{B50A6AE1-167E-4399-ACB4-483EE3132D05}">
      <dsp:nvSpPr>
        <dsp:cNvPr id="0" name=""/>
        <dsp:cNvSpPr/>
      </dsp:nvSpPr>
      <dsp:spPr>
        <a:xfrm>
          <a:off x="4049453" y="1048588"/>
          <a:ext cx="1060976" cy="914171"/>
        </a:xfrm>
        <a:prstGeom prst="hexagon">
          <a:avLst>
            <a:gd name="adj" fmla="val 28900"/>
            <a:gd name="vf" fmla="val 11547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93FBDA-5458-45AB-8B3E-C4922D09EF10}">
      <dsp:nvSpPr>
        <dsp:cNvPr id="0" name=""/>
        <dsp:cNvSpPr/>
      </dsp:nvSpPr>
      <dsp:spPr>
        <a:xfrm>
          <a:off x="2547602" y="0"/>
          <a:ext cx="2304450" cy="1993620"/>
        </a:xfrm>
        <a:prstGeom prst="hexagon">
          <a:avLst>
            <a:gd name="adj" fmla="val 28570"/>
            <a:gd name="vf" fmla="val 11547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rPr>
            <a:t>Assuring Data Quality and Quantity management</a:t>
          </a:r>
        </a:p>
      </dsp:txBody>
      <dsp:txXfrm>
        <a:off x="2929499" y="330385"/>
        <a:ext cx="1540656" cy="1332850"/>
      </dsp:txXfrm>
    </dsp:sp>
    <dsp:sp modelId="{42ADC5B4-68EF-4444-9DC4-9D9CD5819700}">
      <dsp:nvSpPr>
        <dsp:cNvPr id="0" name=""/>
        <dsp:cNvSpPr/>
      </dsp:nvSpPr>
      <dsp:spPr>
        <a:xfrm>
          <a:off x="5287695" y="2757601"/>
          <a:ext cx="1060976" cy="914171"/>
        </a:xfrm>
        <a:prstGeom prst="hexagon">
          <a:avLst>
            <a:gd name="adj" fmla="val 28900"/>
            <a:gd name="vf" fmla="val 11547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27E1CEE-1355-4B5D-BC0D-BD5DC7B7799E}">
      <dsp:nvSpPr>
        <dsp:cNvPr id="0" name=""/>
        <dsp:cNvSpPr/>
      </dsp:nvSpPr>
      <dsp:spPr>
        <a:xfrm>
          <a:off x="4661051" y="1226210"/>
          <a:ext cx="2304450" cy="1993620"/>
        </a:xfrm>
        <a:prstGeom prst="hexagon">
          <a:avLst>
            <a:gd name="adj" fmla="val 28570"/>
            <a:gd name="vf" fmla="val 115470"/>
          </a:avLst>
        </a:prstGeom>
        <a:solidFill>
          <a:schemeClr val="accent4">
            <a:hueOff val="2079139"/>
            <a:satOff val="-9594"/>
            <a:lumOff val="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rPr>
            <a:t>Beneficiary level verification</a:t>
          </a:r>
        </a:p>
      </dsp:txBody>
      <dsp:txXfrm>
        <a:off x="5042948" y="1556595"/>
        <a:ext cx="1540656" cy="1332850"/>
      </dsp:txXfrm>
    </dsp:sp>
    <dsp:sp modelId="{7E4D6DDB-94E7-45D0-9F3D-EF99A8191D04}">
      <dsp:nvSpPr>
        <dsp:cNvPr id="0" name=""/>
        <dsp:cNvSpPr/>
      </dsp:nvSpPr>
      <dsp:spPr>
        <a:xfrm>
          <a:off x="4427532" y="4686757"/>
          <a:ext cx="1060976" cy="914171"/>
        </a:xfrm>
        <a:prstGeom prst="hexagon">
          <a:avLst>
            <a:gd name="adj" fmla="val 28900"/>
            <a:gd name="vf" fmla="val 11547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913707F-3EC4-495C-982E-A44A6567B047}">
      <dsp:nvSpPr>
        <dsp:cNvPr id="0" name=""/>
        <dsp:cNvSpPr/>
      </dsp:nvSpPr>
      <dsp:spPr>
        <a:xfrm>
          <a:off x="4661051" y="3636797"/>
          <a:ext cx="2304450" cy="1993620"/>
        </a:xfrm>
        <a:prstGeom prst="hexagon">
          <a:avLst>
            <a:gd name="adj" fmla="val 28570"/>
            <a:gd name="vf" fmla="val 115470"/>
          </a:avLst>
        </a:prstGeom>
        <a:solidFill>
          <a:schemeClr val="accent4">
            <a:hueOff val="4158277"/>
            <a:satOff val="-19187"/>
            <a:lumOff val="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rPr>
            <a:t>High Risk Pregnancy Tracking and Management</a:t>
          </a:r>
        </a:p>
      </dsp:txBody>
      <dsp:txXfrm>
        <a:off x="5042948" y="3967182"/>
        <a:ext cx="1540656" cy="1332850"/>
      </dsp:txXfrm>
    </dsp:sp>
    <dsp:sp modelId="{A1D2A65A-67C3-4C82-B724-7E9935ABDD0D}">
      <dsp:nvSpPr>
        <dsp:cNvPr id="0" name=""/>
        <dsp:cNvSpPr/>
      </dsp:nvSpPr>
      <dsp:spPr>
        <a:xfrm>
          <a:off x="2293805" y="4887010"/>
          <a:ext cx="1060976" cy="914171"/>
        </a:xfrm>
        <a:prstGeom prst="hexagon">
          <a:avLst>
            <a:gd name="adj" fmla="val 28900"/>
            <a:gd name="vf" fmla="val 11547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01B487-9FA4-4ADD-BA44-E3FFD14E987A}">
      <dsp:nvSpPr>
        <dsp:cNvPr id="0" name=""/>
        <dsp:cNvSpPr/>
      </dsp:nvSpPr>
      <dsp:spPr>
        <a:xfrm>
          <a:off x="2547602" y="4864379"/>
          <a:ext cx="2304450" cy="1993620"/>
        </a:xfrm>
        <a:prstGeom prst="hexagon">
          <a:avLst>
            <a:gd name="adj" fmla="val 28570"/>
            <a:gd name="vf" fmla="val 115470"/>
          </a:avLst>
        </a:prstGeom>
        <a:solidFill>
          <a:schemeClr val="accent4">
            <a:hueOff val="6237415"/>
            <a:satOff val="-28781"/>
            <a:lumOff val="1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rPr>
            <a:t>Ensuring accountability through geo tagging </a:t>
          </a:r>
        </a:p>
      </dsp:txBody>
      <dsp:txXfrm>
        <a:off x="2929499" y="5194764"/>
        <a:ext cx="1540656" cy="1332850"/>
      </dsp:txXfrm>
    </dsp:sp>
    <dsp:sp modelId="{1AE48C66-6BC3-4FAA-9511-253248F5CA83}">
      <dsp:nvSpPr>
        <dsp:cNvPr id="0" name=""/>
        <dsp:cNvSpPr/>
      </dsp:nvSpPr>
      <dsp:spPr>
        <a:xfrm>
          <a:off x="1035286" y="3178682"/>
          <a:ext cx="1060976" cy="914171"/>
        </a:xfrm>
        <a:prstGeom prst="hexagon">
          <a:avLst>
            <a:gd name="adj" fmla="val 28900"/>
            <a:gd name="vf" fmla="val 11547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97777B7-03CC-4670-BB4F-6549E880941A}">
      <dsp:nvSpPr>
        <dsp:cNvPr id="0" name=""/>
        <dsp:cNvSpPr/>
      </dsp:nvSpPr>
      <dsp:spPr>
        <a:xfrm>
          <a:off x="424342" y="3638168"/>
          <a:ext cx="2304450" cy="1993620"/>
        </a:xfrm>
        <a:prstGeom prst="hexagon">
          <a:avLst>
            <a:gd name="adj" fmla="val 28570"/>
            <a:gd name="vf" fmla="val 115470"/>
          </a:avLst>
        </a:prstGeom>
        <a:solidFill>
          <a:schemeClr val="accent4">
            <a:hueOff val="8316554"/>
            <a:satOff val="-38374"/>
            <a:lumOff val="1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rPr>
            <a:t>Ensuring Appropriate and informed Referral</a:t>
          </a:r>
        </a:p>
      </dsp:txBody>
      <dsp:txXfrm>
        <a:off x="806239" y="3968553"/>
        <a:ext cx="1540656" cy="1332850"/>
      </dsp:txXfrm>
    </dsp:sp>
    <dsp:sp modelId="{5A2FA431-4159-46EE-B954-BEC9A28B3AEE}">
      <dsp:nvSpPr>
        <dsp:cNvPr id="0" name=""/>
        <dsp:cNvSpPr/>
      </dsp:nvSpPr>
      <dsp:spPr>
        <a:xfrm>
          <a:off x="424342" y="1223467"/>
          <a:ext cx="2304450" cy="1993620"/>
        </a:xfrm>
        <a:prstGeom prst="hexagon">
          <a:avLst>
            <a:gd name="adj" fmla="val 28570"/>
            <a:gd name="vf" fmla="val 115470"/>
          </a:avLst>
        </a:prstGeom>
        <a:solidFill>
          <a:schemeClr val="accent4">
            <a:hueOff val="10395692"/>
            <a:satOff val="-47968"/>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ambria" panose="02040503050406030204" pitchFamily="18" charset="0"/>
            </a:rPr>
            <a:t>Health worker skills assessment</a:t>
          </a:r>
        </a:p>
      </dsp:txBody>
      <dsp:txXfrm>
        <a:off x="806239" y="1553852"/>
        <a:ext cx="1540656" cy="133285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A759A0-0863-442C-8B6A-BA29DD6E3C2B}">
      <dsp:nvSpPr>
        <dsp:cNvPr id="0" name=""/>
        <dsp:cNvSpPr/>
      </dsp:nvSpPr>
      <dsp:spPr>
        <a:xfrm>
          <a:off x="3495628" y="0"/>
          <a:ext cx="5243442" cy="1990402"/>
        </a:xfrm>
        <a:prstGeom prst="rightArrow">
          <a:avLst>
            <a:gd name="adj1" fmla="val 75000"/>
            <a:gd name="adj2" fmla="val 5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150000"/>
            </a:lnSpc>
            <a:spcBef>
              <a:spcPct val="0"/>
            </a:spcBef>
            <a:spcAft>
              <a:spcPts val="0"/>
            </a:spcAft>
            <a:buChar char="•"/>
          </a:pPr>
          <a:r>
            <a:rPr lang="en-US" sz="2400" kern="1200" dirty="0">
              <a:latin typeface="Cambria" panose="02040503050406030204" pitchFamily="18" charset="0"/>
            </a:rPr>
            <a:t>10,793 FHWs (100%)</a:t>
          </a:r>
        </a:p>
        <a:p>
          <a:pPr marL="228600" lvl="1" indent="-228600" algn="l" defTabSz="1066800">
            <a:lnSpc>
              <a:spcPct val="150000"/>
            </a:lnSpc>
            <a:spcBef>
              <a:spcPct val="0"/>
            </a:spcBef>
            <a:spcAft>
              <a:spcPts val="0"/>
            </a:spcAft>
            <a:buChar char="•"/>
          </a:pPr>
          <a:r>
            <a:rPr lang="en-US" sz="2400" kern="1200" dirty="0">
              <a:latin typeface="Cambria" panose="02040503050406030204" pitchFamily="18" charset="0"/>
            </a:rPr>
            <a:t>CHOs (100%)</a:t>
          </a:r>
        </a:p>
        <a:p>
          <a:pPr marL="228600" lvl="1" indent="-228600" algn="l" defTabSz="1066800">
            <a:lnSpc>
              <a:spcPct val="150000"/>
            </a:lnSpc>
            <a:spcBef>
              <a:spcPct val="0"/>
            </a:spcBef>
            <a:spcAft>
              <a:spcPts val="0"/>
            </a:spcAft>
            <a:buChar char="•"/>
          </a:pPr>
          <a:r>
            <a:rPr lang="en-US" sz="2400" kern="1200" dirty="0">
              <a:latin typeface="Cambria" panose="02040503050406030204" pitchFamily="18" charset="0"/>
            </a:rPr>
            <a:t>ASHAs (100%)</a:t>
          </a:r>
        </a:p>
      </dsp:txBody>
      <dsp:txXfrm>
        <a:off x="3495628" y="248800"/>
        <a:ext cx="4497041" cy="1492802"/>
      </dsp:txXfrm>
    </dsp:sp>
    <dsp:sp modelId="{48125431-3A20-4AA6-928A-B204DB2E3A3F}">
      <dsp:nvSpPr>
        <dsp:cNvPr id="0" name=""/>
        <dsp:cNvSpPr/>
      </dsp:nvSpPr>
      <dsp:spPr>
        <a:xfrm>
          <a:off x="0" y="0"/>
          <a:ext cx="3495628" cy="199040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Cambria" panose="02040503050406030204" pitchFamily="18" charset="0"/>
            </a:rPr>
            <a:t>Front line workers</a:t>
          </a:r>
        </a:p>
      </dsp:txBody>
      <dsp:txXfrm>
        <a:off x="97163" y="97163"/>
        <a:ext cx="3301302" cy="1796076"/>
      </dsp:txXfrm>
    </dsp:sp>
    <dsp:sp modelId="{5D6DAE0B-9C14-4892-9C72-F35AD893CC27}">
      <dsp:nvSpPr>
        <dsp:cNvPr id="0" name=""/>
        <dsp:cNvSpPr/>
      </dsp:nvSpPr>
      <dsp:spPr>
        <a:xfrm>
          <a:off x="3495628" y="2189442"/>
          <a:ext cx="5243442" cy="1990402"/>
        </a:xfrm>
        <a:prstGeom prst="rightArrow">
          <a:avLst>
            <a:gd name="adj1" fmla="val 75000"/>
            <a:gd name="adj2" fmla="val 5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150000"/>
            </a:lnSpc>
            <a:spcBef>
              <a:spcPct val="0"/>
            </a:spcBef>
            <a:spcAft>
              <a:spcPts val="0"/>
            </a:spcAft>
            <a:buChar char="•"/>
          </a:pPr>
          <a:r>
            <a:rPr lang="en-US" sz="2400" kern="1200" dirty="0">
              <a:latin typeface="Cambria" panose="02040503050406030204" pitchFamily="18" charset="0"/>
            </a:rPr>
            <a:t>2219 Health facilities (100%)</a:t>
          </a:r>
        </a:p>
        <a:p>
          <a:pPr marL="228600" lvl="1" indent="-228600" algn="l" defTabSz="1066800">
            <a:lnSpc>
              <a:spcPct val="150000"/>
            </a:lnSpc>
            <a:spcBef>
              <a:spcPct val="0"/>
            </a:spcBef>
            <a:spcAft>
              <a:spcPts val="0"/>
            </a:spcAft>
            <a:buChar char="•"/>
          </a:pPr>
          <a:r>
            <a:rPr lang="en-US" sz="2400" kern="1200" dirty="0">
              <a:latin typeface="Cambria" panose="02040503050406030204" pitchFamily="18" charset="0"/>
            </a:rPr>
            <a:t>Daily 2987/3389 Deliveries registered (88.2%) </a:t>
          </a:r>
        </a:p>
      </dsp:txBody>
      <dsp:txXfrm>
        <a:off x="3495628" y="2438242"/>
        <a:ext cx="4497041" cy="1492802"/>
      </dsp:txXfrm>
    </dsp:sp>
    <dsp:sp modelId="{CFCC1035-2B21-48C0-8545-9D21EF7C7CC8}">
      <dsp:nvSpPr>
        <dsp:cNvPr id="0" name=""/>
        <dsp:cNvSpPr/>
      </dsp:nvSpPr>
      <dsp:spPr>
        <a:xfrm>
          <a:off x="0" y="2189442"/>
          <a:ext cx="3495628" cy="199040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Cambria" panose="02040503050406030204" pitchFamily="18" charset="0"/>
            </a:rPr>
            <a:t>Health Facilities</a:t>
          </a:r>
        </a:p>
      </dsp:txBody>
      <dsp:txXfrm>
        <a:off x="97163" y="2286605"/>
        <a:ext cx="3301302" cy="1796076"/>
      </dsp:txXfrm>
    </dsp:sp>
    <dsp:sp modelId="{844C902A-1AE9-45D8-A71F-3515F23EF466}">
      <dsp:nvSpPr>
        <dsp:cNvPr id="0" name=""/>
        <dsp:cNvSpPr/>
      </dsp:nvSpPr>
      <dsp:spPr>
        <a:xfrm>
          <a:off x="3495628" y="4378884"/>
          <a:ext cx="5243442" cy="1990402"/>
        </a:xfrm>
        <a:prstGeom prst="rightArrow">
          <a:avLst>
            <a:gd name="adj1" fmla="val 75000"/>
            <a:gd name="adj2" fmla="val 50000"/>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t" anchorCtr="0">
          <a:noAutofit/>
        </a:bodyPr>
        <a:lstStyle/>
        <a:p>
          <a:pPr marL="228600" lvl="1" indent="-228600" algn="l" defTabSz="1066800">
            <a:lnSpc>
              <a:spcPct val="150000"/>
            </a:lnSpc>
            <a:spcBef>
              <a:spcPct val="0"/>
            </a:spcBef>
            <a:spcAft>
              <a:spcPts val="0"/>
            </a:spcAft>
            <a:buChar char="•"/>
          </a:pPr>
          <a:r>
            <a:rPr lang="en-US" sz="2400" kern="1200" dirty="0">
              <a:latin typeface="Cambria" panose="02040503050406030204" pitchFamily="18" charset="0"/>
            </a:rPr>
            <a:t>99.3% of population (6.53 Cr.)</a:t>
          </a:r>
        </a:p>
        <a:p>
          <a:pPr marL="228600" lvl="1" indent="-228600" algn="l" defTabSz="1066800">
            <a:lnSpc>
              <a:spcPct val="150000"/>
            </a:lnSpc>
            <a:spcBef>
              <a:spcPct val="0"/>
            </a:spcBef>
            <a:spcAft>
              <a:spcPts val="0"/>
            </a:spcAft>
            <a:buChar char="•"/>
          </a:pPr>
          <a:r>
            <a:rPr lang="en-US" sz="2400" kern="1200" dirty="0">
              <a:latin typeface="Cambria" panose="02040503050406030204" pitchFamily="18" charset="0"/>
            </a:rPr>
            <a:t>7,46,551 pregnancy registration (89.4%)</a:t>
          </a:r>
        </a:p>
      </dsp:txBody>
      <dsp:txXfrm>
        <a:off x="3495628" y="4627684"/>
        <a:ext cx="4497041" cy="1492802"/>
      </dsp:txXfrm>
    </dsp:sp>
    <dsp:sp modelId="{2E3432A5-FE23-41D4-B325-483BE2B6FB7C}">
      <dsp:nvSpPr>
        <dsp:cNvPr id="0" name=""/>
        <dsp:cNvSpPr/>
      </dsp:nvSpPr>
      <dsp:spPr>
        <a:xfrm>
          <a:off x="0" y="4378884"/>
          <a:ext cx="3495628" cy="1990402"/>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Cambria" panose="02040503050406030204" pitchFamily="18" charset="0"/>
            </a:rPr>
            <a:t>Coverage</a:t>
          </a:r>
        </a:p>
      </dsp:txBody>
      <dsp:txXfrm>
        <a:off x="97163" y="4476047"/>
        <a:ext cx="3301302" cy="1796076"/>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8.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8FBDB7-7612-46B2-A465-19568F7678FB}" type="datetimeFigureOut">
              <a:rPr lang="en-GB" smtClean="0"/>
              <a:t>17/11/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5FEC1D-8DD1-4178-8C56-86CB66BF19E9}" type="slidenum">
              <a:rPr lang="en-GB" smtClean="0"/>
              <a:t>‹#›</a:t>
            </a:fld>
            <a:endParaRPr lang="en-GB"/>
          </a:p>
        </p:txBody>
      </p:sp>
    </p:spTree>
    <p:extLst>
      <p:ext uri="{BB962C8B-B14F-4D97-AF65-F5344CB8AC3E}">
        <p14:creationId xmlns:p14="http://schemas.microsoft.com/office/powerpoint/2010/main" val="121109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pected Chair for the session Vandana </a:t>
            </a:r>
            <a:r>
              <a:rPr lang="en-US" dirty="0" err="1"/>
              <a:t>Maam</a:t>
            </a:r>
            <a:r>
              <a:rPr lang="en-US" dirty="0"/>
              <a:t>, Co-chair, colleagues on the </a:t>
            </a:r>
            <a:r>
              <a:rPr lang="en-US" dirty="0" err="1"/>
              <a:t>dias</a:t>
            </a:r>
            <a:r>
              <a:rPr lang="en-US" dirty="0"/>
              <a:t> and all the participants. Its my privilege to present before you a very important IT application, which is bringing a revolution in Gujarat in health indicators because it has emerged as a wonderful management tool in the hands of State’s political leadership, health team and common citizens to bring transparency and make targeted interventions to improve our health indicators. This we call Technology enabled community health operations. </a:t>
            </a:r>
          </a:p>
        </p:txBody>
      </p:sp>
      <p:sp>
        <p:nvSpPr>
          <p:cNvPr id="4" name="Slide Number Placeholder 3"/>
          <p:cNvSpPr>
            <a:spLocks noGrp="1"/>
          </p:cNvSpPr>
          <p:nvPr>
            <p:ph type="sldNum" sz="quarter" idx="5"/>
          </p:nvPr>
        </p:nvSpPr>
        <p:spPr/>
        <p:txBody>
          <a:bodyPr/>
          <a:lstStyle/>
          <a:p>
            <a:fld id="{8A5FEC1D-8DD1-4178-8C56-86CB66BF19E9}" type="slidenum">
              <a:rPr lang="en-GB" smtClean="0"/>
              <a:t>1</a:t>
            </a:fld>
            <a:endParaRPr lang="en-GB"/>
          </a:p>
        </p:txBody>
      </p:sp>
    </p:spTree>
    <p:extLst>
      <p:ext uri="{BB962C8B-B14F-4D97-AF65-F5344CB8AC3E}">
        <p14:creationId xmlns:p14="http://schemas.microsoft.com/office/powerpoint/2010/main" val="2954971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hanks to adequate budget allocation by the state Government and support from National Health Mission, we have adequate finances to take care of staff requirement and create good infrastructure. We have all the resources to make a difference in these indicators. </a:t>
            </a:r>
          </a:p>
          <a:p>
            <a:r>
              <a:rPr lang="en-US" dirty="0"/>
              <a:t>2. However, there are two important ingredients to achieve a quantum jump in these indicators; as were rightly flagged by </a:t>
            </a:r>
            <a:r>
              <a:rPr lang="en-US" dirty="0" err="1"/>
              <a:t>H’ble</a:t>
            </a:r>
            <a:r>
              <a:rPr lang="en-US" dirty="0"/>
              <a:t> Health Minister </a:t>
            </a:r>
            <a:r>
              <a:rPr lang="en-US" dirty="0" err="1"/>
              <a:t>Dr</a:t>
            </a:r>
            <a:r>
              <a:rPr lang="en-US" dirty="0"/>
              <a:t> Harsh Vardhan in his speech yesterday. One; passion and commitment from entire health team, starting from Top political leadership to Principal secretary right </a:t>
            </a:r>
            <a:r>
              <a:rPr lang="en-US" dirty="0" err="1"/>
              <a:t>upto</a:t>
            </a:r>
            <a:r>
              <a:rPr lang="en-US" dirty="0"/>
              <a:t> ANM and Asha  and involvement of common people to achieve these goals. </a:t>
            </a:r>
          </a:p>
          <a:p>
            <a:r>
              <a:rPr lang="en-US" dirty="0"/>
              <a:t>3. I will describe in a minute how TECHO has become a management tool to achieve both the things and has started giving wonderful results. Not too long ago, when I was in the field as collector or DDO, </a:t>
            </a:r>
          </a:p>
        </p:txBody>
      </p:sp>
      <p:sp>
        <p:nvSpPr>
          <p:cNvPr id="4" name="Slide Number Placeholder 3"/>
          <p:cNvSpPr>
            <a:spLocks noGrp="1"/>
          </p:cNvSpPr>
          <p:nvPr>
            <p:ph type="sldNum" sz="quarter" idx="5"/>
          </p:nvPr>
        </p:nvSpPr>
        <p:spPr/>
        <p:txBody>
          <a:bodyPr/>
          <a:lstStyle/>
          <a:p>
            <a:fld id="{8A5FEC1D-8DD1-4178-8C56-86CB66BF19E9}" type="slidenum">
              <a:rPr lang="en-GB" smtClean="0"/>
              <a:t>2</a:t>
            </a:fld>
            <a:endParaRPr lang="en-GB"/>
          </a:p>
        </p:txBody>
      </p:sp>
    </p:spTree>
    <p:extLst>
      <p:ext uri="{BB962C8B-B14F-4D97-AF65-F5344CB8AC3E}">
        <p14:creationId xmlns:p14="http://schemas.microsoft.com/office/powerpoint/2010/main" val="784911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8176117-1766-4406-A148-369B0F9B7A51}" type="slidenum">
              <a:rPr lang="en-IN" smtClean="0"/>
              <a:t>8</a:t>
            </a:fld>
            <a:endParaRPr lang="en-IN"/>
          </a:p>
        </p:txBody>
      </p:sp>
    </p:spTree>
    <p:extLst>
      <p:ext uri="{BB962C8B-B14F-4D97-AF65-F5344CB8AC3E}">
        <p14:creationId xmlns:p14="http://schemas.microsoft.com/office/powerpoint/2010/main" val="167004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opyright </a:t>
            </a:r>
            <a:r>
              <a:rPr lang="en-US" b="1" dirty="0"/>
              <a:t>PresentationGO.com</a:t>
            </a:r>
            <a:r>
              <a:rPr lang="en-US" dirty="0"/>
              <a:t> – The free PowerPoint template library</a:t>
            </a:r>
          </a:p>
        </p:txBody>
      </p:sp>
      <p:sp>
        <p:nvSpPr>
          <p:cNvPr id="4" name="Slide Number Placeholder 3"/>
          <p:cNvSpPr>
            <a:spLocks noGrp="1"/>
          </p:cNvSpPr>
          <p:nvPr>
            <p:ph type="sldNum" sz="quarter" idx="10"/>
          </p:nvPr>
        </p:nvSpPr>
        <p:spPr/>
        <p:txBody>
          <a:bodyPr/>
          <a:lstStyle/>
          <a:p>
            <a:fld id="{B68D2766-C49B-4C1A-9FEE-6F146754B02B}" type="slidenum">
              <a:rPr lang="en-US" smtClean="0"/>
              <a:t>15</a:t>
            </a:fld>
            <a:endParaRPr lang="en-US"/>
          </a:p>
        </p:txBody>
      </p:sp>
    </p:spTree>
    <p:extLst>
      <p:ext uri="{BB962C8B-B14F-4D97-AF65-F5344CB8AC3E}">
        <p14:creationId xmlns:p14="http://schemas.microsoft.com/office/powerpoint/2010/main" val="186523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aseline="0" dirty="0"/>
              <a:t>Mission </a:t>
            </a:r>
            <a:r>
              <a:rPr lang="en-US" baseline="0" dirty="0" err="1"/>
              <a:t>Niramaya</a:t>
            </a:r>
            <a:r>
              <a:rPr lang="en-US" baseline="0" dirty="0"/>
              <a:t> is an extension of 7X11 approach and implementation framework for the comprehensive approach.</a:t>
            </a:r>
          </a:p>
          <a:p>
            <a:pPr marL="0" indent="0">
              <a:buFont typeface="+mj-lt"/>
              <a:buNone/>
            </a:pPr>
            <a:endParaRPr lang="en-US" baseline="0" dirty="0"/>
          </a:p>
          <a:p>
            <a:pPr marL="0" indent="0">
              <a:buFont typeface="+mj-lt"/>
              <a:buNone/>
            </a:pPr>
            <a:endParaRPr lang="en-US" baseline="0" dirty="0"/>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27472827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d flag shows either improper reporting or decrease in performance</a:t>
            </a:r>
          </a:p>
        </p:txBody>
      </p:sp>
      <p:sp>
        <p:nvSpPr>
          <p:cNvPr id="4" name="Slide Number Placeholder 3"/>
          <p:cNvSpPr>
            <a:spLocks noGrp="1"/>
          </p:cNvSpPr>
          <p:nvPr>
            <p:ph type="sldNum" sz="quarter" idx="5"/>
          </p:nvPr>
        </p:nvSpPr>
        <p:spPr/>
        <p:txBody>
          <a:bodyPr/>
          <a:lstStyle/>
          <a:p>
            <a:fld id="{8A5FEC1D-8DD1-4178-8C56-86CB66BF19E9}" type="slidenum">
              <a:rPr lang="en-GB" smtClean="0"/>
              <a:t>23</a:t>
            </a:fld>
            <a:endParaRPr lang="en-GB"/>
          </a:p>
        </p:txBody>
      </p:sp>
    </p:spTree>
    <p:extLst>
      <p:ext uri="{BB962C8B-B14F-4D97-AF65-F5344CB8AC3E}">
        <p14:creationId xmlns:p14="http://schemas.microsoft.com/office/powerpoint/2010/main" val="1645732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Google Shape;339;p10:notes"/>
          <p:cNvSpPr txBox="1">
            <a:spLocks noGrp="1"/>
          </p:cNvSpPr>
          <p:nvPr>
            <p:ph type="body" idx="1"/>
          </p:nvPr>
        </p:nvSpPr>
        <p:spPr>
          <a:xfrm>
            <a:off x="701040" y="4473892"/>
            <a:ext cx="5608320" cy="3660458"/>
          </a:xfrm>
          <a:prstGeom prst="rect">
            <a:avLst/>
          </a:prstGeom>
        </p:spPr>
        <p:txBody>
          <a:bodyPr spcFirstLastPara="1" wrap="square" lIns="93162" tIns="46568" rIns="93162" bIns="46568" anchor="t" anchorCtr="0">
            <a:noAutofit/>
          </a:bodyPr>
          <a:lstStyle/>
          <a:p>
            <a:pPr marL="0" indent="0"/>
            <a:endParaRPr/>
          </a:p>
        </p:txBody>
      </p:sp>
      <p:sp>
        <p:nvSpPr>
          <p:cNvPr id="340" name="Google Shape;340;p1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615590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99D09D4-1C86-49FA-AD59-8DFA48BF248B}" type="datetimeFigureOut">
              <a:rPr lang="en-GB" smtClean="0"/>
              <a:t>17/1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2455226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99D09D4-1C86-49FA-AD59-8DFA48BF248B}" type="datetimeFigureOut">
              <a:rPr lang="en-GB" smtClean="0"/>
              <a:t>17/1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1569525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99D09D4-1C86-49FA-AD59-8DFA48BF248B}" type="datetimeFigureOut">
              <a:rPr lang="en-GB" smtClean="0"/>
              <a:t>17/1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16504192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fld id="{ADEB2BC6-691F-4E94-B48E-4A0825065D4D}" type="datetime1">
              <a:rPr lang="en-IN" smtClean="0"/>
              <a:t>17/11/19</a:t>
            </a:fld>
            <a:endParaRPr lang="en-US" dirty="0"/>
          </a:p>
        </p:txBody>
      </p:sp>
      <p:sp>
        <p:nvSpPr>
          <p:cNvPr id="7" name="Copyright"/>
          <p:cNvSpPr txBox="1"/>
          <p:nvPr userDrawn="1"/>
        </p:nvSpPr>
        <p:spPr>
          <a:xfrm rot="16200000">
            <a:off x="9486902"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56799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99D09D4-1C86-49FA-AD59-8DFA48BF248B}" type="datetimeFigureOut">
              <a:rPr lang="en-GB" smtClean="0"/>
              <a:t>17/1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2494192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99D09D4-1C86-49FA-AD59-8DFA48BF248B}" type="datetimeFigureOut">
              <a:rPr lang="en-GB" smtClean="0"/>
              <a:t>17/1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669672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899D09D4-1C86-49FA-AD59-8DFA48BF248B}" type="datetimeFigureOut">
              <a:rPr lang="en-GB" smtClean="0"/>
              <a:t>17/11/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26577664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899D09D4-1C86-49FA-AD59-8DFA48BF248B}" type="datetimeFigureOut">
              <a:rPr lang="en-GB" smtClean="0"/>
              <a:t>17/11/2019</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41539220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99D09D4-1C86-49FA-AD59-8DFA48BF248B}" type="datetimeFigureOut">
              <a:rPr lang="en-GB" smtClean="0"/>
              <a:t>17/11/2019</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2742638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9D09D4-1C86-49FA-AD59-8DFA48BF248B}" type="datetimeFigureOut">
              <a:rPr lang="en-GB" smtClean="0"/>
              <a:t>17/11/2019</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23841655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99D09D4-1C86-49FA-AD59-8DFA48BF248B}" type="datetimeFigureOut">
              <a:rPr lang="en-GB" smtClean="0"/>
              <a:t>17/11/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127228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99D09D4-1C86-49FA-AD59-8DFA48BF248B}" type="datetimeFigureOut">
              <a:rPr lang="en-GB" smtClean="0"/>
              <a:t>17/11/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1A0BFA4-A00C-4442-BE78-56DFA60B5645}" type="slidenum">
              <a:rPr lang="en-GB" smtClean="0"/>
              <a:t>‹#›</a:t>
            </a:fld>
            <a:endParaRPr lang="en-GB"/>
          </a:p>
        </p:txBody>
      </p:sp>
    </p:spTree>
    <p:extLst>
      <p:ext uri="{BB962C8B-B14F-4D97-AF65-F5344CB8AC3E}">
        <p14:creationId xmlns:p14="http://schemas.microsoft.com/office/powerpoint/2010/main" val="3732356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9D09D4-1C86-49FA-AD59-8DFA48BF248B}" type="datetimeFigureOut">
              <a:rPr lang="en-GB" smtClean="0"/>
              <a:t>17/11/2019</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A0BFA4-A00C-4442-BE78-56DFA60B5645}" type="slidenum">
              <a:rPr lang="en-GB" smtClean="0"/>
              <a:t>‹#›</a:t>
            </a:fld>
            <a:endParaRPr lang="en-GB"/>
          </a:p>
        </p:txBody>
      </p:sp>
    </p:spTree>
    <p:extLst>
      <p:ext uri="{BB962C8B-B14F-4D97-AF65-F5344CB8AC3E}">
        <p14:creationId xmlns:p14="http://schemas.microsoft.com/office/powerpoint/2010/main" val="33648570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16.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 Id="rId9" Type="http://schemas.openxmlformats.org/officeDocument/2006/relationships/image" Target="../media/image42.jpeg"/></Relationships>
</file>

<file path=ppt/slides/_rels/slide17.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3.png"/><Relationship Id="rId2" Type="http://schemas.openxmlformats.org/officeDocument/2006/relationships/diagramData" Target="../diagrams/data11.xml"/><Relationship Id="rId1" Type="http://schemas.openxmlformats.org/officeDocument/2006/relationships/slideLayout" Target="../slideLayouts/slideLayout1.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jpg"/><Relationship Id="rId1" Type="http://schemas.openxmlformats.org/officeDocument/2006/relationships/slideLayout" Target="../slideLayouts/slideLayout4.xml"/><Relationship Id="rId4" Type="http://schemas.openxmlformats.org/officeDocument/2006/relationships/image" Target="../media/image46.jpg"/></Relationships>
</file>

<file path=ppt/slides/_rels/slide2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51.jpg"/><Relationship Id="rId5" Type="http://schemas.openxmlformats.org/officeDocument/2006/relationships/image" Target="../media/image50.png"/><Relationship Id="rId4" Type="http://schemas.openxmlformats.org/officeDocument/2006/relationships/image" Target="../media/image49.jp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Layout" Target="../diagrams/layout5.xml"/><Relationship Id="rId7" Type="http://schemas.openxmlformats.org/officeDocument/2006/relationships/image" Target="../media/image11.jpeg"/><Relationship Id="rId12" Type="http://schemas.openxmlformats.org/officeDocument/2006/relationships/image" Target="../media/image16.jpe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11" Type="http://schemas.openxmlformats.org/officeDocument/2006/relationships/image" Target="../media/image15.jpeg"/><Relationship Id="rId5" Type="http://schemas.openxmlformats.org/officeDocument/2006/relationships/diagramColors" Target="../diagrams/colors5.xml"/><Relationship Id="rId10" Type="http://schemas.openxmlformats.org/officeDocument/2006/relationships/image" Target="../media/image14.jpg"/><Relationship Id="rId4" Type="http://schemas.openxmlformats.org/officeDocument/2006/relationships/diagramQuickStyle" Target="../diagrams/quickStyle5.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7.jpg"/><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26.jpeg"/><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2414488" y="3810726"/>
            <a:ext cx="7635239" cy="579600"/>
          </a:xfrm>
        </p:spPr>
        <p:txBody>
          <a:bodyPr>
            <a:noAutofit/>
          </a:bodyPr>
          <a:lstStyle/>
          <a:p>
            <a:pPr algn="ctr">
              <a:lnSpc>
                <a:spcPct val="150000"/>
              </a:lnSpc>
            </a:pPr>
            <a:br>
              <a:rPr lang="en-IN" sz="3200" b="1" dirty="0">
                <a:solidFill>
                  <a:srgbClr val="0070C0"/>
                </a:solidFill>
                <a:latin typeface="Cambria" panose="02040503050406030204" pitchFamily="18" charset="0"/>
              </a:rPr>
            </a:br>
            <a:r>
              <a:rPr lang="en-IN" sz="3200" b="1" dirty="0">
                <a:solidFill>
                  <a:srgbClr val="FF0000"/>
                </a:solidFill>
                <a:latin typeface="Cambria" panose="02040503050406030204" pitchFamily="18" charset="0"/>
              </a:rPr>
              <a:t>A Digital Health Revolution</a:t>
            </a:r>
            <a:endParaRPr lang="en-GB" sz="3200" b="1" dirty="0">
              <a:solidFill>
                <a:srgbClr val="FF0000"/>
              </a:solidFill>
              <a:latin typeface="Cambria" panose="02040503050406030204" pitchFamily="18" charset="0"/>
            </a:endParaRPr>
          </a:p>
        </p:txBody>
      </p:sp>
      <p:sp>
        <p:nvSpPr>
          <p:cNvPr id="6" name="Subtitle 2"/>
          <p:cNvSpPr>
            <a:spLocks noGrp="1"/>
          </p:cNvSpPr>
          <p:nvPr>
            <p:ph type="subTitle" idx="1"/>
          </p:nvPr>
        </p:nvSpPr>
        <p:spPr>
          <a:xfrm>
            <a:off x="2414487" y="4843353"/>
            <a:ext cx="7635239" cy="1451102"/>
          </a:xfrm>
        </p:spPr>
        <p:txBody>
          <a:bodyPr>
            <a:noAutofit/>
          </a:bodyPr>
          <a:lstStyle/>
          <a:p>
            <a:pPr>
              <a:lnSpc>
                <a:spcPct val="100000"/>
              </a:lnSpc>
              <a:spcBef>
                <a:spcPts val="0"/>
              </a:spcBef>
            </a:pPr>
            <a:r>
              <a:rPr lang="en-IN" b="1" dirty="0">
                <a:solidFill>
                  <a:srgbClr val="0070C0"/>
                </a:solidFill>
                <a:latin typeface="Cambria" panose="02040503050406030204" pitchFamily="18" charset="0"/>
              </a:rPr>
              <a:t>Jai Prakash Shivahare,</a:t>
            </a:r>
            <a:r>
              <a:rPr lang="en-IN" dirty="0">
                <a:solidFill>
                  <a:srgbClr val="0070C0"/>
                </a:solidFill>
                <a:latin typeface="Cambria" panose="02040503050406030204" pitchFamily="18" charset="0"/>
              </a:rPr>
              <a:t> IAS</a:t>
            </a:r>
          </a:p>
          <a:p>
            <a:pPr>
              <a:lnSpc>
                <a:spcPct val="100000"/>
              </a:lnSpc>
              <a:spcBef>
                <a:spcPts val="0"/>
              </a:spcBef>
            </a:pPr>
            <a:r>
              <a:rPr lang="en-IN" dirty="0">
                <a:solidFill>
                  <a:srgbClr val="0070C0"/>
                </a:solidFill>
                <a:latin typeface="Cambria" panose="02040503050406030204" pitchFamily="18" charset="0"/>
              </a:rPr>
              <a:t>Commissioner of Health, </a:t>
            </a:r>
          </a:p>
          <a:p>
            <a:pPr>
              <a:lnSpc>
                <a:spcPct val="100000"/>
              </a:lnSpc>
              <a:spcBef>
                <a:spcPts val="0"/>
              </a:spcBef>
            </a:pPr>
            <a:r>
              <a:rPr lang="en-IN" dirty="0">
                <a:solidFill>
                  <a:srgbClr val="0070C0"/>
                </a:solidFill>
                <a:latin typeface="Cambria" panose="02040503050406030204" pitchFamily="18" charset="0"/>
              </a:rPr>
              <a:t>Government of Gujarat</a:t>
            </a:r>
            <a:endParaRPr lang="en-GB" dirty="0">
              <a:solidFill>
                <a:srgbClr val="0070C0"/>
              </a:solidFill>
              <a:latin typeface="Cambria" panose="02040503050406030204" pitchFamily="18"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3550" y="272087"/>
            <a:ext cx="1030937" cy="1752593"/>
          </a:xfrm>
          <a:prstGeom prst="rect">
            <a:avLst/>
          </a:prstGeom>
        </p:spPr>
      </p:pic>
      <p:pic>
        <p:nvPicPr>
          <p:cNvPr id="9" name="Picture 8">
            <a:extLst>
              <a:ext uri="{FF2B5EF4-FFF2-40B4-BE49-F238E27FC236}">
                <a16:creationId xmlns:a16="http://schemas.microsoft.com/office/drawing/2014/main" id="{86300D0E-BC78-8A45-9744-C21EABC55A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7302" y="467844"/>
            <a:ext cx="3309612" cy="3113672"/>
          </a:xfrm>
          <a:prstGeom prst="rect">
            <a:avLst/>
          </a:prstGeom>
        </p:spPr>
      </p:pic>
      <p:sp>
        <p:nvSpPr>
          <p:cNvPr id="2" name="Rectangle 1">
            <a:extLst>
              <a:ext uri="{FF2B5EF4-FFF2-40B4-BE49-F238E27FC236}">
                <a16:creationId xmlns:a16="http://schemas.microsoft.com/office/drawing/2014/main" id="{91052FE2-4CF3-7740-9CB5-95419C019E92}"/>
              </a:ext>
            </a:extLst>
          </p:cNvPr>
          <p:cNvSpPr/>
          <p:nvPr/>
        </p:nvSpPr>
        <p:spPr>
          <a:xfrm>
            <a:off x="2860672" y="3168970"/>
            <a:ext cx="6742872" cy="523220"/>
          </a:xfrm>
          <a:prstGeom prst="rect">
            <a:avLst/>
          </a:prstGeom>
        </p:spPr>
        <p:txBody>
          <a:bodyPr wrap="none">
            <a:spAutoFit/>
          </a:bodyPr>
          <a:lstStyle/>
          <a:p>
            <a:r>
              <a:rPr lang="en-IN" sz="2400" dirty="0"/>
              <a:t>(Technology Enabled Community Health Operations</a:t>
            </a:r>
            <a:r>
              <a:rPr lang="en-IN" sz="2800" dirty="0"/>
              <a:t>)</a:t>
            </a:r>
            <a:endParaRPr lang="en-US" sz="2400" dirty="0"/>
          </a:p>
        </p:txBody>
      </p:sp>
      <p:pic>
        <p:nvPicPr>
          <p:cNvPr id="10" name="Picture 9">
            <a:extLst>
              <a:ext uri="{FF2B5EF4-FFF2-40B4-BE49-F238E27FC236}">
                <a16:creationId xmlns:a16="http://schemas.microsoft.com/office/drawing/2014/main" id="{936E56B9-12EE-764C-B825-9C9F8471CAB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03544" y="272087"/>
            <a:ext cx="1833951" cy="1829285"/>
          </a:xfrm>
          <a:prstGeom prst="rect">
            <a:avLst/>
          </a:prstGeom>
        </p:spPr>
      </p:pic>
    </p:spTree>
    <p:extLst>
      <p:ext uri="{BB962C8B-B14F-4D97-AF65-F5344CB8AC3E}">
        <p14:creationId xmlns:p14="http://schemas.microsoft.com/office/powerpoint/2010/main" val="25420072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22515"/>
            <a:ext cx="2799184" cy="5833836"/>
          </a:xfrm>
          <a:solidFill>
            <a:schemeClr val="accent1">
              <a:lumMod val="75000"/>
            </a:schemeClr>
          </a:solidFill>
        </p:spPr>
        <p:txBody>
          <a:bodyPr>
            <a:noAutofit/>
          </a:bodyPr>
          <a:lstStyle/>
          <a:p>
            <a:pPr algn="ctr">
              <a:lnSpc>
                <a:spcPct val="150000"/>
              </a:lnSpc>
            </a:pPr>
            <a:r>
              <a:rPr lang="en-US" sz="4000" b="1" dirty="0">
                <a:solidFill>
                  <a:schemeClr val="bg1"/>
                </a:solidFill>
                <a:latin typeface="Cambria" panose="02040503050406030204" pitchFamily="18" charset="0"/>
              </a:rPr>
              <a:t>Successful Roll out in entire state</a:t>
            </a:r>
            <a:endParaRPr lang="en-IN" sz="4000" b="1" dirty="0">
              <a:solidFill>
                <a:schemeClr val="bg1"/>
              </a:solidFill>
              <a:latin typeface="Cambria" panose="02040503050406030204" pitchFamily="18" charset="0"/>
            </a:endParaRPr>
          </a:p>
        </p:txBody>
      </p:sp>
      <p:sp>
        <p:nvSpPr>
          <p:cNvPr id="4" name="Slide Number Placeholder 3"/>
          <p:cNvSpPr>
            <a:spLocks noGrp="1"/>
          </p:cNvSpPr>
          <p:nvPr>
            <p:ph type="sldNum" sz="quarter" idx="12"/>
          </p:nvPr>
        </p:nvSpPr>
        <p:spPr/>
        <p:txBody>
          <a:bodyPr/>
          <a:lstStyle/>
          <a:p>
            <a:fld id="{2A477851-D9BB-4E53-9300-2E55C74469EE}" type="slidenum">
              <a:rPr lang="en-IN" smtClean="0"/>
              <a:t>10</a:t>
            </a:fld>
            <a:endParaRPr lang="en-IN"/>
          </a:p>
        </p:txBody>
      </p:sp>
      <p:graphicFrame>
        <p:nvGraphicFramePr>
          <p:cNvPr id="12" name="Diagram 11"/>
          <p:cNvGraphicFramePr/>
          <p:nvPr>
            <p:extLst>
              <p:ext uri="{D42A27DB-BD31-4B8C-83A1-F6EECF244321}">
                <p14:modId xmlns:p14="http://schemas.microsoft.com/office/powerpoint/2010/main" val="3319601732"/>
              </p:ext>
            </p:extLst>
          </p:nvPr>
        </p:nvGraphicFramePr>
        <p:xfrm>
          <a:off x="3209729" y="254789"/>
          <a:ext cx="8739071" cy="6369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09305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9971314" y="2467429"/>
            <a:ext cx="184731" cy="369332"/>
          </a:xfrm>
          <a:prstGeom prst="rect">
            <a:avLst/>
          </a:prstGeom>
          <a:noFill/>
        </p:spPr>
        <p:txBody>
          <a:bodyPr wrap="none" rtlCol="0">
            <a:spAutoFit/>
          </a:bodyPr>
          <a:lstStyle/>
          <a:p>
            <a:endParaRPr lang="en-GB" dirty="0"/>
          </a:p>
        </p:txBody>
      </p:sp>
      <p:sp>
        <p:nvSpPr>
          <p:cNvPr id="6" name="Title 1"/>
          <p:cNvSpPr>
            <a:spLocks noGrp="1"/>
          </p:cNvSpPr>
          <p:nvPr>
            <p:ph type="ctrTitle"/>
          </p:nvPr>
        </p:nvSpPr>
        <p:spPr>
          <a:xfrm>
            <a:off x="0" y="0"/>
            <a:ext cx="12192000" cy="895739"/>
          </a:xfrm>
        </p:spPr>
        <p:txBody>
          <a:bodyPr>
            <a:noAutofit/>
          </a:bodyPr>
          <a:lstStyle/>
          <a:p>
            <a:pPr algn="ctr">
              <a:lnSpc>
                <a:spcPct val="150000"/>
              </a:lnSpc>
            </a:pPr>
            <a:r>
              <a:rPr lang="en-IN" sz="3200" b="1" dirty="0">
                <a:solidFill>
                  <a:srgbClr val="0070C0"/>
                </a:solidFill>
                <a:latin typeface="Cambria" panose="02040503050406030204" pitchFamily="18" charset="0"/>
              </a:rPr>
              <a:t>State of Health: A giant leap towards data transparency</a:t>
            </a:r>
            <a:endParaRPr lang="en-GB" sz="3200" b="1" dirty="0">
              <a:solidFill>
                <a:srgbClr val="0070C0"/>
              </a:solidFill>
              <a:latin typeface="Cambria" panose="02040503050406030204" pitchFamily="18" charset="0"/>
            </a:endParaRPr>
          </a:p>
        </p:txBody>
      </p:sp>
      <p:sp>
        <p:nvSpPr>
          <p:cNvPr id="8" name="Subtitle 2"/>
          <p:cNvSpPr>
            <a:spLocks noGrp="1"/>
          </p:cNvSpPr>
          <p:nvPr>
            <p:ph type="subTitle" idx="1"/>
          </p:nvPr>
        </p:nvSpPr>
        <p:spPr>
          <a:xfrm>
            <a:off x="4870579" y="1205329"/>
            <a:ext cx="6830009" cy="5270116"/>
          </a:xfrm>
          <a:ln>
            <a:solidFill>
              <a:schemeClr val="tx1"/>
            </a:solidFill>
          </a:ln>
        </p:spPr>
        <p:txBody>
          <a:bodyPr>
            <a:noAutofit/>
          </a:bodyPr>
          <a:lstStyle/>
          <a:p>
            <a:pPr marL="342900" indent="-342900" algn="just">
              <a:lnSpc>
                <a:spcPct val="200000"/>
              </a:lnSpc>
              <a:spcBef>
                <a:spcPts val="0"/>
              </a:spcBef>
              <a:buFont typeface="Arial" panose="020B0604020202020204" pitchFamily="34" charset="0"/>
              <a:buChar char="•"/>
            </a:pPr>
            <a:r>
              <a:rPr lang="en-IN" dirty="0">
                <a:latin typeface="Cambria" panose="02040503050406030204" pitchFamily="18" charset="0"/>
              </a:rPr>
              <a:t>Health data is made available in public domain</a:t>
            </a:r>
          </a:p>
          <a:p>
            <a:pPr marL="342900" indent="-342900" algn="just">
              <a:lnSpc>
                <a:spcPct val="200000"/>
              </a:lnSpc>
              <a:spcBef>
                <a:spcPts val="0"/>
              </a:spcBef>
              <a:buFont typeface="Arial" panose="020B0604020202020204" pitchFamily="34" charset="0"/>
              <a:buChar char="•"/>
            </a:pPr>
            <a:r>
              <a:rPr lang="en-IN" dirty="0">
                <a:latin typeface="Cambria" panose="02040503050406030204" pitchFamily="18" charset="0"/>
              </a:rPr>
              <a:t>Can be accessed and used by every citizen without restriction up to last granularity</a:t>
            </a:r>
          </a:p>
          <a:p>
            <a:pPr marL="342900" indent="-342900" algn="just">
              <a:lnSpc>
                <a:spcPct val="200000"/>
              </a:lnSpc>
              <a:spcBef>
                <a:spcPts val="0"/>
              </a:spcBef>
              <a:buFont typeface="Arial" panose="020B0604020202020204" pitchFamily="34" charset="0"/>
              <a:buChar char="•"/>
            </a:pPr>
            <a:r>
              <a:rPr lang="en-IN" b="1" i="1" dirty="0">
                <a:latin typeface="Cambria" panose="02040503050406030204" pitchFamily="18" charset="0"/>
              </a:rPr>
              <a:t>Beneficiary details not made available to ensure confidentiality</a:t>
            </a:r>
            <a:endParaRPr lang="en-GB" b="1" i="1" dirty="0">
              <a:latin typeface="Cambria" panose="02040503050406030204" pitchFamily="18" charset="0"/>
            </a:endParaRPr>
          </a:p>
        </p:txBody>
      </p:sp>
      <p:pic>
        <p:nvPicPr>
          <p:cNvPr id="9"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6079" y="993701"/>
            <a:ext cx="3664664" cy="5847845"/>
          </a:xfrm>
          <a:prstGeom prst="rect">
            <a:avLst/>
          </a:prstGeom>
          <a:ln>
            <a:solidFill>
              <a:schemeClr val="tx1"/>
            </a:solidFill>
          </a:ln>
        </p:spPr>
      </p:pic>
    </p:spTree>
    <p:extLst>
      <p:ext uri="{BB962C8B-B14F-4D97-AF65-F5344CB8AC3E}">
        <p14:creationId xmlns:p14="http://schemas.microsoft.com/office/powerpoint/2010/main" val="304938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301888" y="365125"/>
            <a:ext cx="3874795" cy="6183159"/>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7723" y="365125"/>
            <a:ext cx="3855697" cy="6183159"/>
          </a:xfrm>
          <a:prstGeom prst="rect">
            <a:avLst/>
          </a:prstGeom>
        </p:spPr>
      </p:pic>
      <p:sp>
        <p:nvSpPr>
          <p:cNvPr id="8" name="Oval 7"/>
          <p:cNvSpPr/>
          <p:nvPr/>
        </p:nvSpPr>
        <p:spPr>
          <a:xfrm>
            <a:off x="3215148" y="914400"/>
            <a:ext cx="2064775" cy="1356852"/>
          </a:xfrm>
          <a:prstGeom prst="ellipse">
            <a:avLst/>
          </a:prstGeom>
          <a:no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10" name="Striped Right Arrow 9"/>
          <p:cNvSpPr/>
          <p:nvPr/>
        </p:nvSpPr>
        <p:spPr>
          <a:xfrm>
            <a:off x="5279923" y="1976284"/>
            <a:ext cx="1507800" cy="648929"/>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Oval 10"/>
          <p:cNvSpPr/>
          <p:nvPr/>
        </p:nvSpPr>
        <p:spPr>
          <a:xfrm>
            <a:off x="6892412" y="4999703"/>
            <a:ext cx="3372465" cy="575187"/>
          </a:xfrm>
          <a:prstGeom prst="ellipse">
            <a:avLst/>
          </a:prstGeom>
          <a:noFill/>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pic>
        <p:nvPicPr>
          <p:cNvPr id="7" name="Content Placeholder 3">
            <a:extLst>
              <a:ext uri="{FF2B5EF4-FFF2-40B4-BE49-F238E27FC236}">
                <a16:creationId xmlns:a16="http://schemas.microsoft.com/office/drawing/2014/main" id="{D7C41A75-7A89-384E-99A7-06A8EDD88B2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7750" y="365125"/>
            <a:ext cx="3874795" cy="6183159"/>
          </a:xfrm>
          <a:prstGeom prst="rect">
            <a:avLst/>
          </a:prstGeom>
        </p:spPr>
      </p:pic>
    </p:spTree>
    <p:extLst>
      <p:ext uri="{BB962C8B-B14F-4D97-AF65-F5344CB8AC3E}">
        <p14:creationId xmlns:p14="http://schemas.microsoft.com/office/powerpoint/2010/main" val="133765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1374" y="298757"/>
            <a:ext cx="3855697" cy="6374887"/>
          </a:xfrm>
          <a:prstGeom prst="rect">
            <a:avLst/>
          </a:prstGeom>
        </p:spPr>
      </p:pic>
      <p:sp>
        <p:nvSpPr>
          <p:cNvPr id="6" name="Striped Right Arrow 5"/>
          <p:cNvSpPr/>
          <p:nvPr/>
        </p:nvSpPr>
        <p:spPr>
          <a:xfrm>
            <a:off x="5446063" y="3303639"/>
            <a:ext cx="1035221" cy="471948"/>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TextBox 12"/>
          <p:cNvSpPr txBox="1"/>
          <p:nvPr/>
        </p:nvSpPr>
        <p:spPr>
          <a:xfrm>
            <a:off x="5330871" y="2688495"/>
            <a:ext cx="1192699" cy="646331"/>
          </a:xfrm>
          <a:prstGeom prst="rect">
            <a:avLst/>
          </a:prstGeom>
          <a:noFill/>
        </p:spPr>
        <p:txBody>
          <a:bodyPr wrap="none" rtlCol="0">
            <a:spAutoFit/>
          </a:bodyPr>
          <a:lstStyle/>
          <a:p>
            <a:pPr algn="ctr"/>
            <a:r>
              <a:rPr lang="en-IN" dirty="0"/>
              <a:t>IF LOGGED</a:t>
            </a:r>
          </a:p>
          <a:p>
            <a:pPr algn="ctr"/>
            <a:r>
              <a:rPr lang="en-IN" dirty="0"/>
              <a:t> IN</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82562" y="349517"/>
            <a:ext cx="4483544" cy="5765081"/>
          </a:xfrm>
          <a:prstGeom prst="rect">
            <a:avLst/>
          </a:prstGeom>
        </p:spPr>
      </p:pic>
    </p:spTree>
    <p:extLst>
      <p:ext uri="{BB962C8B-B14F-4D97-AF65-F5344CB8AC3E}">
        <p14:creationId xmlns:p14="http://schemas.microsoft.com/office/powerpoint/2010/main" val="178493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0662" y="1600199"/>
            <a:ext cx="3272939" cy="4572001"/>
          </a:xfrm>
          <a:prstGeom prst="rect">
            <a:avLst/>
          </a:prstGeom>
        </p:spPr>
      </p:pic>
      <p:sp>
        <p:nvSpPr>
          <p:cNvPr id="6" name="Striped Right Arrow 5"/>
          <p:cNvSpPr/>
          <p:nvPr/>
        </p:nvSpPr>
        <p:spPr>
          <a:xfrm>
            <a:off x="5608548" y="3334980"/>
            <a:ext cx="776416" cy="353961"/>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13" name="TextBox 12"/>
          <p:cNvSpPr txBox="1"/>
          <p:nvPr/>
        </p:nvSpPr>
        <p:spPr>
          <a:xfrm>
            <a:off x="5499864" y="2873623"/>
            <a:ext cx="939104" cy="507831"/>
          </a:xfrm>
          <a:prstGeom prst="rect">
            <a:avLst/>
          </a:prstGeom>
          <a:noFill/>
        </p:spPr>
        <p:txBody>
          <a:bodyPr wrap="none" rtlCol="0">
            <a:spAutoFit/>
          </a:bodyPr>
          <a:lstStyle/>
          <a:p>
            <a:pPr algn="ctr"/>
            <a:r>
              <a:rPr lang="en-IN" sz="1350" dirty="0"/>
              <a:t>IF LOGGED</a:t>
            </a:r>
          </a:p>
          <a:p>
            <a:pPr algn="ctr"/>
            <a:r>
              <a:rPr lang="en-IN" sz="1350" dirty="0"/>
              <a:t> IN</a:t>
            </a:r>
          </a:p>
        </p:txBody>
      </p:sp>
      <p:sp>
        <p:nvSpPr>
          <p:cNvPr id="5" name="Title 4"/>
          <p:cNvSpPr>
            <a:spLocks noGrp="1"/>
          </p:cNvSpPr>
          <p:nvPr>
            <p:ph type="title"/>
          </p:nvPr>
        </p:nvSpPr>
        <p:spPr>
          <a:xfrm>
            <a:off x="2971800" y="304802"/>
            <a:ext cx="6096000" cy="838199"/>
          </a:xfrm>
        </p:spPr>
        <p:txBody>
          <a:bodyPr/>
          <a:lstStyle/>
          <a:p>
            <a:r>
              <a:rPr lang="en-IN" dirty="0"/>
              <a:t>Tracking of MMR </a:t>
            </a:r>
          </a:p>
        </p:txBody>
      </p:sp>
      <p:sp>
        <p:nvSpPr>
          <p:cNvPr id="2" name="Slide Number Placeholder 1"/>
          <p:cNvSpPr>
            <a:spLocks noGrp="1"/>
          </p:cNvSpPr>
          <p:nvPr>
            <p:ph type="sldNum" sz="quarter" idx="12"/>
          </p:nvPr>
        </p:nvSpPr>
        <p:spPr/>
        <p:txBody>
          <a:bodyPr/>
          <a:lstStyle/>
          <a:p>
            <a:fld id="{2A477851-D9BB-4E53-9300-2E55C74469EE}" type="slidenum">
              <a:rPr lang="en-IN" smtClean="0"/>
              <a:t>14</a:t>
            </a:fld>
            <a:endParaRPr lang="en-IN"/>
          </a:p>
        </p:txBody>
      </p:sp>
      <p:pic>
        <p:nvPicPr>
          <p:cNvPr id="3" name="Picture 2"/>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2133601" y="1600200"/>
            <a:ext cx="3284153" cy="4756151"/>
          </a:xfrm>
          <a:prstGeom prst="rect">
            <a:avLst/>
          </a:prstGeom>
        </p:spPr>
      </p:pic>
    </p:spTree>
    <p:extLst>
      <p:ext uri="{BB962C8B-B14F-4D97-AF65-F5344CB8AC3E}">
        <p14:creationId xmlns:p14="http://schemas.microsoft.com/office/powerpoint/2010/main" val="143450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BFAE1-45D3-4B3B-81D2-0BF25FA84FB8}"/>
              </a:ext>
            </a:extLst>
          </p:cNvPr>
          <p:cNvSpPr>
            <a:spLocks noGrp="1"/>
          </p:cNvSpPr>
          <p:nvPr>
            <p:ph type="title"/>
          </p:nvPr>
        </p:nvSpPr>
        <p:spPr>
          <a:xfrm>
            <a:off x="2971800" y="317018"/>
            <a:ext cx="6096000" cy="857328"/>
          </a:xfrm>
        </p:spPr>
        <p:txBody>
          <a:bodyPr>
            <a:noAutofit/>
          </a:bodyPr>
          <a:lstStyle/>
          <a:p>
            <a:pPr algn="ctr"/>
            <a:r>
              <a:rPr lang="en-US" sz="2700" b="1" dirty="0"/>
              <a:t>Continuum of Care using TeCHO+</a:t>
            </a:r>
          </a:p>
        </p:txBody>
      </p:sp>
      <p:grpSp>
        <p:nvGrpSpPr>
          <p:cNvPr id="33" name="Group 32">
            <a:extLst>
              <a:ext uri="{FF2B5EF4-FFF2-40B4-BE49-F238E27FC236}">
                <a16:creationId xmlns:a16="http://schemas.microsoft.com/office/drawing/2014/main" id="{0C5573D2-D327-405F-8DC9-8CDA1DA172E6}"/>
              </a:ext>
            </a:extLst>
          </p:cNvPr>
          <p:cNvGrpSpPr/>
          <p:nvPr/>
        </p:nvGrpSpPr>
        <p:grpSpPr>
          <a:xfrm>
            <a:off x="5955193" y="1860314"/>
            <a:ext cx="1120520" cy="2074715"/>
            <a:chOff x="5908256" y="1337417"/>
            <a:chExt cx="1494027" cy="2766286"/>
          </a:xfrm>
        </p:grpSpPr>
        <p:sp>
          <p:nvSpPr>
            <p:cNvPr id="34" name="Shape">
              <a:extLst>
                <a:ext uri="{FF2B5EF4-FFF2-40B4-BE49-F238E27FC236}">
                  <a16:creationId xmlns:a16="http://schemas.microsoft.com/office/drawing/2014/main" id="{809D83A9-6D45-44F3-8257-2E69B699981C}"/>
                </a:ext>
              </a:extLst>
            </p:cNvPr>
            <p:cNvSpPr/>
            <p:nvPr/>
          </p:nvSpPr>
          <p:spPr>
            <a:xfrm>
              <a:off x="5908256" y="1337417"/>
              <a:ext cx="1494027" cy="2766278"/>
            </a:xfrm>
            <a:custGeom>
              <a:avLst/>
              <a:gdLst/>
              <a:ahLst/>
              <a:cxnLst>
                <a:cxn ang="0">
                  <a:pos x="wd2" y="hd2"/>
                </a:cxn>
                <a:cxn ang="5400000">
                  <a:pos x="wd2" y="hd2"/>
                </a:cxn>
                <a:cxn ang="10800000">
                  <a:pos x="wd2" y="hd2"/>
                </a:cxn>
                <a:cxn ang="16200000">
                  <a:pos x="wd2" y="hd2"/>
                </a:cxn>
              </a:cxnLst>
              <a:rect l="0" t="0" r="r" b="b"/>
              <a:pathLst>
                <a:path w="20616" h="20838" extrusionOk="0">
                  <a:moveTo>
                    <a:pt x="4446" y="8775"/>
                  </a:moveTo>
                  <a:cubicBezTo>
                    <a:pt x="2314" y="10399"/>
                    <a:pt x="492" y="12218"/>
                    <a:pt x="85" y="14204"/>
                  </a:cubicBezTo>
                  <a:cubicBezTo>
                    <a:pt x="-208" y="15636"/>
                    <a:pt x="264" y="17111"/>
                    <a:pt x="1432" y="18404"/>
                  </a:cubicBezTo>
                  <a:cubicBezTo>
                    <a:pt x="2241" y="19301"/>
                    <a:pt x="3450" y="20141"/>
                    <a:pt x="5122" y="20549"/>
                  </a:cubicBezTo>
                  <a:cubicBezTo>
                    <a:pt x="9430" y="21600"/>
                    <a:pt x="13344" y="19574"/>
                    <a:pt x="15790" y="17857"/>
                  </a:cubicBezTo>
                  <a:cubicBezTo>
                    <a:pt x="16994" y="17011"/>
                    <a:pt x="17966" y="16081"/>
                    <a:pt x="18715" y="15094"/>
                  </a:cubicBezTo>
                  <a:cubicBezTo>
                    <a:pt x="21392" y="11565"/>
                    <a:pt x="21184" y="7343"/>
                    <a:pt x="18454" y="3874"/>
                  </a:cubicBezTo>
                  <a:cubicBezTo>
                    <a:pt x="17201" y="2283"/>
                    <a:pt x="15273" y="762"/>
                    <a:pt x="12429" y="0"/>
                  </a:cubicBezTo>
                  <a:cubicBezTo>
                    <a:pt x="13613" y="1264"/>
                    <a:pt x="12445" y="2794"/>
                    <a:pt x="11033" y="3985"/>
                  </a:cubicBezTo>
                  <a:cubicBezTo>
                    <a:pt x="9052" y="5664"/>
                    <a:pt x="6578" y="7152"/>
                    <a:pt x="4446" y="8775"/>
                  </a:cubicBezTo>
                  <a:close/>
                </a:path>
              </a:pathLst>
            </a:custGeom>
            <a:solidFill>
              <a:srgbClr val="42BE5C"/>
            </a:solidFill>
            <a:ln w="12700">
              <a:miter lim="400000"/>
            </a:ln>
          </p:spPr>
          <p:txBody>
            <a:bodyPr lIns="28575" tIns="28575" rIns="28575" bIns="28575" anchor="ctr"/>
            <a:lstStyle/>
            <a:p>
              <a:pPr algn="ctr">
                <a:defRPr sz="3000">
                  <a:solidFill>
                    <a:srgbClr val="FFFFFF"/>
                  </a:solidFill>
                </a:defRPr>
              </a:pPr>
              <a:endParaRPr sz="900">
                <a:solidFill>
                  <a:schemeClr val="bg1"/>
                </a:solidFill>
              </a:endParaRPr>
            </a:p>
          </p:txBody>
        </p:sp>
        <p:sp>
          <p:nvSpPr>
            <p:cNvPr id="35" name="Freeform: Shape 34">
              <a:extLst>
                <a:ext uri="{FF2B5EF4-FFF2-40B4-BE49-F238E27FC236}">
                  <a16:creationId xmlns:a16="http://schemas.microsoft.com/office/drawing/2014/main" id="{A8C1E0C2-2313-4E04-96F3-1AD7DEF55F2F}"/>
                </a:ext>
              </a:extLst>
            </p:cNvPr>
            <p:cNvSpPr/>
            <p:nvPr/>
          </p:nvSpPr>
          <p:spPr>
            <a:xfrm>
              <a:off x="5908280" y="1337417"/>
              <a:ext cx="998000" cy="2766286"/>
            </a:xfrm>
            <a:custGeom>
              <a:avLst/>
              <a:gdLst>
                <a:gd name="connsiteX0" fmla="*/ 900697 w 998000"/>
                <a:gd name="connsiteY0" fmla="*/ 0 h 2766286"/>
                <a:gd name="connsiteX1" fmla="*/ 974150 w 998000"/>
                <a:gd name="connsiteY1" fmla="*/ 48141 h 2766286"/>
                <a:gd name="connsiteX2" fmla="*/ 980644 w 998000"/>
                <a:gd name="connsiteY2" fmla="*/ 90271 h 2766286"/>
                <a:gd name="connsiteX3" fmla="*/ 844696 w 998000"/>
                <a:gd name="connsiteY3" fmla="*/ 488071 h 2766286"/>
                <a:gd name="connsiteX4" fmla="*/ 367341 w 998000"/>
                <a:gd name="connsiteY4" fmla="*/ 1123952 h 2766286"/>
                <a:gd name="connsiteX5" fmla="*/ 51302 w 998000"/>
                <a:gd name="connsiteY5" fmla="*/ 1844660 h 2766286"/>
                <a:gd name="connsiteX6" fmla="*/ 148918 w 998000"/>
                <a:gd name="connsiteY6" fmla="*/ 2402217 h 2766286"/>
                <a:gd name="connsiteX7" fmla="*/ 416330 w 998000"/>
                <a:gd name="connsiteY7" fmla="*/ 2686969 h 2766286"/>
                <a:gd name="connsiteX8" fmla="*/ 949238 w 998000"/>
                <a:gd name="connsiteY8" fmla="*/ 2579629 h 2766286"/>
                <a:gd name="connsiteX9" fmla="*/ 998000 w 998000"/>
                <a:gd name="connsiteY9" fmla="*/ 2536436 h 2766286"/>
                <a:gd name="connsiteX10" fmla="*/ 992590 w 998000"/>
                <a:gd name="connsiteY10" fmla="*/ 2542164 h 2766286"/>
                <a:gd name="connsiteX11" fmla="*/ 371164 w 998000"/>
                <a:gd name="connsiteY11" fmla="*/ 2727913 h 2766286"/>
                <a:gd name="connsiteX12" fmla="*/ 103752 w 998000"/>
                <a:gd name="connsiteY12" fmla="*/ 2443161 h 2766286"/>
                <a:gd name="connsiteX13" fmla="*/ 6136 w 998000"/>
                <a:gd name="connsiteY13" fmla="*/ 1885604 h 2766286"/>
                <a:gd name="connsiteX14" fmla="*/ 322175 w 998000"/>
                <a:gd name="connsiteY14" fmla="*/ 1164896 h 2766286"/>
                <a:gd name="connsiteX15" fmla="*/ 799530 w 998000"/>
                <a:gd name="connsiteY15" fmla="*/ 529015 h 2766286"/>
                <a:gd name="connsiteX16" fmla="*/ 900697 w 998000"/>
                <a:gd name="connsiteY16" fmla="*/ 0 h 276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000" h="2766286">
                  <a:moveTo>
                    <a:pt x="900697" y="0"/>
                  </a:moveTo>
                  <a:lnTo>
                    <a:pt x="974150" y="48141"/>
                  </a:lnTo>
                  <a:lnTo>
                    <a:pt x="980644" y="90271"/>
                  </a:lnTo>
                  <a:cubicBezTo>
                    <a:pt x="988240" y="225596"/>
                    <a:pt x="921441" y="369491"/>
                    <a:pt x="844696" y="488071"/>
                  </a:cubicBezTo>
                  <a:cubicBezTo>
                    <a:pt x="701134" y="710961"/>
                    <a:pt x="521845" y="908496"/>
                    <a:pt x="367341" y="1123952"/>
                  </a:cubicBezTo>
                  <a:cubicBezTo>
                    <a:pt x="212836" y="1339540"/>
                    <a:pt x="80797" y="1581015"/>
                    <a:pt x="51302" y="1844660"/>
                  </a:cubicBezTo>
                  <a:cubicBezTo>
                    <a:pt x="30069" y="2034760"/>
                    <a:pt x="64274" y="2230569"/>
                    <a:pt x="148918" y="2402217"/>
                  </a:cubicBezTo>
                  <a:cubicBezTo>
                    <a:pt x="207546" y="2521295"/>
                    <a:pt x="295161" y="2632806"/>
                    <a:pt x="416330" y="2686969"/>
                  </a:cubicBezTo>
                  <a:cubicBezTo>
                    <a:pt x="611454" y="2774170"/>
                    <a:pt x="795424" y="2701810"/>
                    <a:pt x="949238" y="2579629"/>
                  </a:cubicBezTo>
                  <a:lnTo>
                    <a:pt x="998000" y="2536436"/>
                  </a:lnTo>
                  <a:lnTo>
                    <a:pt x="992590" y="2542164"/>
                  </a:lnTo>
                  <a:cubicBezTo>
                    <a:pt x="823400" y="2707428"/>
                    <a:pt x="605312" y="2832555"/>
                    <a:pt x="371164" y="2727913"/>
                  </a:cubicBezTo>
                  <a:cubicBezTo>
                    <a:pt x="249995" y="2673750"/>
                    <a:pt x="162380" y="2562239"/>
                    <a:pt x="103752" y="2443161"/>
                  </a:cubicBezTo>
                  <a:cubicBezTo>
                    <a:pt x="19108" y="2271513"/>
                    <a:pt x="-15098" y="2075704"/>
                    <a:pt x="6136" y="1885604"/>
                  </a:cubicBezTo>
                  <a:cubicBezTo>
                    <a:pt x="35631" y="1621959"/>
                    <a:pt x="167670" y="1380484"/>
                    <a:pt x="322175" y="1164896"/>
                  </a:cubicBezTo>
                  <a:cubicBezTo>
                    <a:pt x="476679" y="949440"/>
                    <a:pt x="655968" y="751905"/>
                    <a:pt x="799530" y="529015"/>
                  </a:cubicBezTo>
                  <a:cubicBezTo>
                    <a:pt x="901857" y="370908"/>
                    <a:pt x="986501" y="167798"/>
                    <a:pt x="900697" y="0"/>
                  </a:cubicBezTo>
                  <a:close/>
                </a:path>
              </a:pathLst>
            </a:custGeom>
            <a:solidFill>
              <a:schemeClr val="tx1">
                <a:alpha val="30000"/>
              </a:schemeClr>
            </a:solidFill>
            <a:ln w="12700">
              <a:miter lim="400000"/>
            </a:ln>
          </p:spPr>
          <p:txBody>
            <a:bodyPr wrap="square" lIns="28575" tIns="28575" rIns="28575" bIns="28575" anchor="ctr">
              <a:noAutofit/>
            </a:bodyPr>
            <a:lstStyle/>
            <a:p>
              <a:pPr algn="ctr"/>
              <a:endParaRPr sz="2100">
                <a:solidFill>
                  <a:srgbClr val="FFFFFF"/>
                </a:solidFill>
              </a:endParaRPr>
            </a:p>
          </p:txBody>
        </p:sp>
      </p:grpSp>
      <p:grpSp>
        <p:nvGrpSpPr>
          <p:cNvPr id="36" name="Group 35">
            <a:extLst>
              <a:ext uri="{FF2B5EF4-FFF2-40B4-BE49-F238E27FC236}">
                <a16:creationId xmlns:a16="http://schemas.microsoft.com/office/drawing/2014/main" id="{6757FCB5-A066-4B77-B90B-7842E01091D8}"/>
              </a:ext>
            </a:extLst>
          </p:cNvPr>
          <p:cNvGrpSpPr/>
          <p:nvPr/>
        </p:nvGrpSpPr>
        <p:grpSpPr>
          <a:xfrm>
            <a:off x="6950304" y="2659602"/>
            <a:ext cx="1565294" cy="1759999"/>
            <a:chOff x="7235072" y="2162990"/>
            <a:chExt cx="2087058" cy="2233954"/>
          </a:xfrm>
        </p:grpSpPr>
        <p:sp>
          <p:nvSpPr>
            <p:cNvPr id="37" name="Shape">
              <a:extLst>
                <a:ext uri="{FF2B5EF4-FFF2-40B4-BE49-F238E27FC236}">
                  <a16:creationId xmlns:a16="http://schemas.microsoft.com/office/drawing/2014/main" id="{218EEE9A-69E4-438D-8A97-15EF70F50F48}"/>
                </a:ext>
              </a:extLst>
            </p:cNvPr>
            <p:cNvSpPr/>
            <p:nvPr/>
          </p:nvSpPr>
          <p:spPr>
            <a:xfrm>
              <a:off x="7235072" y="2162990"/>
              <a:ext cx="2087058" cy="2233936"/>
            </a:xfrm>
            <a:custGeom>
              <a:avLst/>
              <a:gdLst/>
              <a:ahLst/>
              <a:cxnLst>
                <a:cxn ang="0">
                  <a:pos x="wd2" y="hd2"/>
                </a:cxn>
                <a:cxn ang="5400000">
                  <a:pos x="wd2" y="hd2"/>
                </a:cxn>
                <a:cxn ang="10800000">
                  <a:pos x="wd2" y="hd2"/>
                </a:cxn>
                <a:cxn ang="16200000">
                  <a:pos x="wd2" y="hd2"/>
                </a:cxn>
              </a:cxnLst>
              <a:rect l="0" t="0" r="r" b="b"/>
              <a:pathLst>
                <a:path w="21330" h="20789" extrusionOk="0">
                  <a:moveTo>
                    <a:pt x="20142" y="0"/>
                  </a:moveTo>
                  <a:cubicBezTo>
                    <a:pt x="19982" y="1745"/>
                    <a:pt x="18150" y="2936"/>
                    <a:pt x="16411" y="3685"/>
                  </a:cubicBezTo>
                  <a:cubicBezTo>
                    <a:pt x="13958" y="4739"/>
                    <a:pt x="11337" y="5419"/>
                    <a:pt x="8833" y="6366"/>
                  </a:cubicBezTo>
                  <a:cubicBezTo>
                    <a:pt x="6329" y="7312"/>
                    <a:pt x="3879" y="8572"/>
                    <a:pt x="2203" y="10509"/>
                  </a:cubicBezTo>
                  <a:cubicBezTo>
                    <a:pt x="992" y="11906"/>
                    <a:pt x="232" y="13623"/>
                    <a:pt x="43" y="15396"/>
                  </a:cubicBezTo>
                  <a:cubicBezTo>
                    <a:pt x="-90" y="16628"/>
                    <a:pt x="67" y="17937"/>
                    <a:pt x="829" y="18963"/>
                  </a:cubicBezTo>
                  <a:cubicBezTo>
                    <a:pt x="2785" y="21600"/>
                    <a:pt x="6699" y="20867"/>
                    <a:pt x="9468" y="19937"/>
                  </a:cubicBezTo>
                  <a:cubicBezTo>
                    <a:pt x="10834" y="19479"/>
                    <a:pt x="12111" y="18848"/>
                    <a:pt x="13289" y="18080"/>
                  </a:cubicBezTo>
                  <a:cubicBezTo>
                    <a:pt x="17499" y="15330"/>
                    <a:pt x="20395" y="10825"/>
                    <a:pt x="21163" y="6212"/>
                  </a:cubicBezTo>
                  <a:cubicBezTo>
                    <a:pt x="21510" y="4097"/>
                    <a:pt x="21383" y="1814"/>
                    <a:pt x="20142" y="0"/>
                  </a:cubicBezTo>
                  <a:close/>
                </a:path>
              </a:pathLst>
            </a:custGeom>
            <a:solidFill>
              <a:srgbClr val="00A057"/>
            </a:solidFill>
            <a:ln w="12700">
              <a:miter lim="400000"/>
            </a:ln>
          </p:spPr>
          <p:txBody>
            <a:bodyPr lIns="28575" tIns="28575" rIns="28575" bIns="28575" anchor="ctr"/>
            <a:lstStyle/>
            <a:p>
              <a:pPr algn="ctr">
                <a:defRPr sz="3000">
                  <a:solidFill>
                    <a:srgbClr val="FFFFFF"/>
                  </a:solidFill>
                </a:defRPr>
              </a:pPr>
              <a:endParaRPr sz="900">
                <a:solidFill>
                  <a:schemeClr val="bg1"/>
                </a:solidFill>
              </a:endParaRPr>
            </a:p>
          </p:txBody>
        </p:sp>
        <p:sp>
          <p:nvSpPr>
            <p:cNvPr id="38" name="Freeform: Shape 37">
              <a:extLst>
                <a:ext uri="{FF2B5EF4-FFF2-40B4-BE49-F238E27FC236}">
                  <a16:creationId xmlns:a16="http://schemas.microsoft.com/office/drawing/2014/main" id="{24359D64-EEB3-4B35-B668-281C6AF6853F}"/>
                </a:ext>
              </a:extLst>
            </p:cNvPr>
            <p:cNvSpPr/>
            <p:nvPr/>
          </p:nvSpPr>
          <p:spPr>
            <a:xfrm>
              <a:off x="7235120" y="2162990"/>
              <a:ext cx="1994931" cy="2233954"/>
            </a:xfrm>
            <a:custGeom>
              <a:avLst/>
              <a:gdLst>
                <a:gd name="connsiteX0" fmla="*/ 373790 w 1994931"/>
                <a:gd name="connsiteY0" fmla="*/ 969405 h 2233954"/>
                <a:gd name="connsiteX1" fmla="*/ 260674 w 1994931"/>
                <a:gd name="connsiteY1" fmla="*/ 1088328 h 2233954"/>
                <a:gd name="connsiteX2" fmla="*/ 49327 w 1994931"/>
                <a:gd name="connsiteY2" fmla="*/ 1613473 h 2233954"/>
                <a:gd name="connsiteX3" fmla="*/ 126234 w 1994931"/>
                <a:gd name="connsiteY3" fmla="*/ 1996775 h 2233954"/>
                <a:gd name="connsiteX4" fmla="*/ 971526 w 1994931"/>
                <a:gd name="connsiteY4" fmla="*/ 2101438 h 2233954"/>
                <a:gd name="connsiteX5" fmla="*/ 1345396 w 1994931"/>
                <a:gd name="connsiteY5" fmla="*/ 1901890 h 2233954"/>
                <a:gd name="connsiteX6" fmla="*/ 1472438 w 1994931"/>
                <a:gd name="connsiteY6" fmla="*/ 1799677 h 2233954"/>
                <a:gd name="connsiteX7" fmla="*/ 1448523 w 1994931"/>
                <a:gd name="connsiteY7" fmla="*/ 1823524 h 2233954"/>
                <a:gd name="connsiteX8" fmla="*/ 1300230 w 1994931"/>
                <a:gd name="connsiteY8" fmla="*/ 1942834 h 2233954"/>
                <a:gd name="connsiteX9" fmla="*/ 926360 w 1994931"/>
                <a:gd name="connsiteY9" fmla="*/ 2142382 h 2233954"/>
                <a:gd name="connsiteX10" fmla="*/ 81068 w 1994931"/>
                <a:gd name="connsiteY10" fmla="*/ 2037719 h 2233954"/>
                <a:gd name="connsiteX11" fmla="*/ 4161 w 1994931"/>
                <a:gd name="connsiteY11" fmla="*/ 1654417 h 2233954"/>
                <a:gd name="connsiteX12" fmla="*/ 215508 w 1994931"/>
                <a:gd name="connsiteY12" fmla="*/ 1129272 h 2233954"/>
                <a:gd name="connsiteX13" fmla="*/ 351600 w 1994931"/>
                <a:gd name="connsiteY13" fmla="*/ 986194 h 2233954"/>
                <a:gd name="connsiteX14" fmla="*/ 1970770 w 1994931"/>
                <a:gd name="connsiteY14" fmla="*/ 0 h 2233954"/>
                <a:gd name="connsiteX15" fmla="*/ 1994931 w 1994931"/>
                <a:gd name="connsiteY15" fmla="*/ 44884 h 2233954"/>
                <a:gd name="connsiteX16" fmla="*/ 1976218 w 1994931"/>
                <a:gd name="connsiteY16" fmla="*/ 88717 h 2233954"/>
                <a:gd name="connsiteX17" fmla="*/ 1891341 w 1994931"/>
                <a:gd name="connsiteY17" fmla="*/ 197182 h 2233954"/>
                <a:gd name="connsiteX18" fmla="*/ 1864481 w 1994931"/>
                <a:gd name="connsiteY18" fmla="*/ 218038 h 2233954"/>
                <a:gd name="connsiteX19" fmla="*/ 1893246 w 1994931"/>
                <a:gd name="connsiteY19" fmla="*/ 186473 h 2233954"/>
                <a:gd name="connsiteX20" fmla="*/ 1970770 w 1994931"/>
                <a:gd name="connsiteY20" fmla="*/ 0 h 223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94931" h="2233954">
                  <a:moveTo>
                    <a:pt x="373790" y="969405"/>
                  </a:moveTo>
                  <a:lnTo>
                    <a:pt x="260674" y="1088328"/>
                  </a:lnTo>
                  <a:cubicBezTo>
                    <a:pt x="142183" y="1238446"/>
                    <a:pt x="67820" y="1422951"/>
                    <a:pt x="49327" y="1613473"/>
                  </a:cubicBezTo>
                  <a:cubicBezTo>
                    <a:pt x="36313" y="1745861"/>
                    <a:pt x="51675" y="1886523"/>
                    <a:pt x="126234" y="1996775"/>
                  </a:cubicBezTo>
                  <a:cubicBezTo>
                    <a:pt x="317621" y="2280140"/>
                    <a:pt x="700590" y="2201374"/>
                    <a:pt x="971526" y="2101438"/>
                  </a:cubicBezTo>
                  <a:cubicBezTo>
                    <a:pt x="1105184" y="2052223"/>
                    <a:pt x="1230133" y="1984417"/>
                    <a:pt x="1345396" y="1901890"/>
                  </a:cubicBezTo>
                  <a:lnTo>
                    <a:pt x="1472438" y="1799677"/>
                  </a:lnTo>
                  <a:lnTo>
                    <a:pt x="1448523" y="1823524"/>
                  </a:lnTo>
                  <a:cubicBezTo>
                    <a:pt x="1401204" y="1866010"/>
                    <a:pt x="1351722" y="1905895"/>
                    <a:pt x="1300230" y="1942834"/>
                  </a:cubicBezTo>
                  <a:cubicBezTo>
                    <a:pt x="1184967" y="2025361"/>
                    <a:pt x="1060018" y="2093167"/>
                    <a:pt x="926360" y="2142382"/>
                  </a:cubicBezTo>
                  <a:cubicBezTo>
                    <a:pt x="655424" y="2242318"/>
                    <a:pt x="272455" y="2321084"/>
                    <a:pt x="81068" y="2037719"/>
                  </a:cubicBezTo>
                  <a:cubicBezTo>
                    <a:pt x="6509" y="1927467"/>
                    <a:pt x="-8853" y="1786805"/>
                    <a:pt x="4161" y="1654417"/>
                  </a:cubicBezTo>
                  <a:cubicBezTo>
                    <a:pt x="22654" y="1463895"/>
                    <a:pt x="97017" y="1279390"/>
                    <a:pt x="215508" y="1129272"/>
                  </a:cubicBezTo>
                  <a:cubicBezTo>
                    <a:pt x="256506" y="1077236"/>
                    <a:pt x="302237" y="1029746"/>
                    <a:pt x="351600" y="986194"/>
                  </a:cubicBezTo>
                  <a:close/>
                  <a:moveTo>
                    <a:pt x="1970770" y="0"/>
                  </a:moveTo>
                  <a:lnTo>
                    <a:pt x="1994931" y="44884"/>
                  </a:lnTo>
                  <a:lnTo>
                    <a:pt x="1976218" y="88717"/>
                  </a:lnTo>
                  <a:cubicBezTo>
                    <a:pt x="1954552" y="128342"/>
                    <a:pt x="1925361" y="164434"/>
                    <a:pt x="1891341" y="197182"/>
                  </a:cubicBezTo>
                  <a:lnTo>
                    <a:pt x="1864481" y="218038"/>
                  </a:lnTo>
                  <a:lnTo>
                    <a:pt x="1893246" y="186473"/>
                  </a:lnTo>
                  <a:cubicBezTo>
                    <a:pt x="1936022" y="132264"/>
                    <a:pt x="1964899" y="70318"/>
                    <a:pt x="1970770" y="0"/>
                  </a:cubicBezTo>
                  <a:close/>
                </a:path>
              </a:pathLst>
            </a:custGeom>
            <a:solidFill>
              <a:schemeClr val="tx1">
                <a:alpha val="30000"/>
              </a:schemeClr>
            </a:solidFill>
            <a:ln w="12700">
              <a:miter lim="400000"/>
            </a:ln>
          </p:spPr>
          <p:txBody>
            <a:bodyPr wrap="square" lIns="28575" tIns="28575" rIns="28575" bIns="28575" anchor="ctr">
              <a:noAutofit/>
            </a:bodyPr>
            <a:lstStyle/>
            <a:p>
              <a:pPr algn="ctr"/>
              <a:endParaRPr sz="2100">
                <a:solidFill>
                  <a:srgbClr val="FFFFFF"/>
                </a:solidFill>
              </a:endParaRPr>
            </a:p>
          </p:txBody>
        </p:sp>
      </p:grpSp>
      <p:grpSp>
        <p:nvGrpSpPr>
          <p:cNvPr id="42" name="Group 41">
            <a:extLst>
              <a:ext uri="{FF2B5EF4-FFF2-40B4-BE49-F238E27FC236}">
                <a16:creationId xmlns:a16="http://schemas.microsoft.com/office/drawing/2014/main" id="{B685769C-1B9D-47D3-9BA1-F2705BB8EE41}"/>
              </a:ext>
            </a:extLst>
          </p:cNvPr>
          <p:cNvGrpSpPr/>
          <p:nvPr/>
        </p:nvGrpSpPr>
        <p:grpSpPr>
          <a:xfrm>
            <a:off x="4716835" y="2015107"/>
            <a:ext cx="1170338" cy="1915838"/>
            <a:chOff x="4257113" y="1543808"/>
            <a:chExt cx="1560451" cy="2554451"/>
          </a:xfrm>
        </p:grpSpPr>
        <p:sp>
          <p:nvSpPr>
            <p:cNvPr id="73" name="Shape">
              <a:extLst>
                <a:ext uri="{FF2B5EF4-FFF2-40B4-BE49-F238E27FC236}">
                  <a16:creationId xmlns:a16="http://schemas.microsoft.com/office/drawing/2014/main" id="{CC5EEA60-1333-4D0B-BC87-6DCC855208E3}"/>
                </a:ext>
              </a:extLst>
            </p:cNvPr>
            <p:cNvSpPr/>
            <p:nvPr/>
          </p:nvSpPr>
          <p:spPr>
            <a:xfrm>
              <a:off x="4257113" y="1543808"/>
              <a:ext cx="1560451" cy="2554354"/>
            </a:xfrm>
            <a:custGeom>
              <a:avLst/>
              <a:gdLst/>
              <a:ahLst/>
              <a:cxnLst>
                <a:cxn ang="0">
                  <a:pos x="wd2" y="hd2"/>
                </a:cxn>
                <a:cxn ang="5400000">
                  <a:pos x="wd2" y="hd2"/>
                </a:cxn>
                <a:cxn ang="10800000">
                  <a:pos x="wd2" y="hd2"/>
                </a:cxn>
                <a:cxn ang="16200000">
                  <a:pos x="wd2" y="hd2"/>
                </a:cxn>
              </a:cxnLst>
              <a:rect l="0" t="0" r="r" b="b"/>
              <a:pathLst>
                <a:path w="21528" h="21228" extrusionOk="0">
                  <a:moveTo>
                    <a:pt x="3043" y="4151"/>
                  </a:moveTo>
                  <a:cubicBezTo>
                    <a:pt x="3177" y="6354"/>
                    <a:pt x="2713" y="8555"/>
                    <a:pt x="2673" y="10758"/>
                  </a:cubicBezTo>
                  <a:cubicBezTo>
                    <a:pt x="2632" y="12963"/>
                    <a:pt x="3051" y="15234"/>
                    <a:pt x="4800" y="17170"/>
                  </a:cubicBezTo>
                  <a:cubicBezTo>
                    <a:pt x="6065" y="18564"/>
                    <a:pt x="8001" y="19736"/>
                    <a:pt x="10312" y="20503"/>
                  </a:cubicBezTo>
                  <a:cubicBezTo>
                    <a:pt x="11919" y="21034"/>
                    <a:pt x="13790" y="21375"/>
                    <a:pt x="15588" y="21167"/>
                  </a:cubicBezTo>
                  <a:cubicBezTo>
                    <a:pt x="20221" y="20630"/>
                    <a:pt x="21299" y="17447"/>
                    <a:pt x="21502" y="15051"/>
                  </a:cubicBezTo>
                  <a:cubicBezTo>
                    <a:pt x="21600" y="13870"/>
                    <a:pt x="21421" y="12691"/>
                    <a:pt x="20998" y="11542"/>
                  </a:cubicBezTo>
                  <a:cubicBezTo>
                    <a:pt x="19485" y="7430"/>
                    <a:pt x="14880" y="3681"/>
                    <a:pt x="9002" y="1488"/>
                  </a:cubicBezTo>
                  <a:cubicBezTo>
                    <a:pt x="6309" y="483"/>
                    <a:pt x="3128" y="-225"/>
                    <a:pt x="0" y="67"/>
                  </a:cubicBezTo>
                  <a:cubicBezTo>
                    <a:pt x="2298" y="802"/>
                    <a:pt x="2949" y="2588"/>
                    <a:pt x="3043" y="4151"/>
                  </a:cubicBezTo>
                  <a:close/>
                </a:path>
              </a:pathLst>
            </a:custGeom>
            <a:solidFill>
              <a:srgbClr val="9CCD50"/>
            </a:solidFill>
            <a:ln w="12700">
              <a:miter lim="400000"/>
            </a:ln>
          </p:spPr>
          <p:txBody>
            <a:bodyPr lIns="28575" tIns="28575" rIns="28575" bIns="28575" anchor="ctr"/>
            <a:lstStyle/>
            <a:p>
              <a:pPr algn="ctr">
                <a:defRPr sz="3000">
                  <a:solidFill>
                    <a:srgbClr val="FFFFFF"/>
                  </a:solidFill>
                </a:defRPr>
              </a:pPr>
              <a:endParaRPr sz="900">
                <a:solidFill>
                  <a:schemeClr val="bg1"/>
                </a:solidFill>
              </a:endParaRPr>
            </a:p>
          </p:txBody>
        </p:sp>
        <p:sp>
          <p:nvSpPr>
            <p:cNvPr id="74" name="Freeform: Shape 73">
              <a:extLst>
                <a:ext uri="{FF2B5EF4-FFF2-40B4-BE49-F238E27FC236}">
                  <a16:creationId xmlns:a16="http://schemas.microsoft.com/office/drawing/2014/main" id="{0C6519A5-48C8-4F6D-84F9-94CE68DAC027}"/>
                </a:ext>
              </a:extLst>
            </p:cNvPr>
            <p:cNvSpPr/>
            <p:nvPr/>
          </p:nvSpPr>
          <p:spPr>
            <a:xfrm>
              <a:off x="4257113" y="1548839"/>
              <a:ext cx="1358028" cy="2549420"/>
            </a:xfrm>
            <a:custGeom>
              <a:avLst/>
              <a:gdLst>
                <a:gd name="connsiteX0" fmla="*/ 100892 w 1358028"/>
                <a:gd name="connsiteY0" fmla="*/ 0 h 2549420"/>
                <a:gd name="connsiteX1" fmla="*/ 102188 w 1358028"/>
                <a:gd name="connsiteY1" fmla="*/ 882 h 2549420"/>
                <a:gd name="connsiteX2" fmla="*/ 265737 w 1358028"/>
                <a:gd name="connsiteY2" fmla="*/ 453513 h 2549420"/>
                <a:gd name="connsiteX3" fmla="*/ 238918 w 1358028"/>
                <a:gd name="connsiteY3" fmla="*/ 1248530 h 2549420"/>
                <a:gd name="connsiteX4" fmla="*/ 393093 w 1358028"/>
                <a:gd name="connsiteY4" fmla="*/ 2020082 h 2549420"/>
                <a:gd name="connsiteX5" fmla="*/ 792629 w 1358028"/>
                <a:gd name="connsiteY5" fmla="*/ 2421140 h 2549420"/>
                <a:gd name="connsiteX6" fmla="*/ 1175058 w 1358028"/>
                <a:gd name="connsiteY6" fmla="*/ 2501039 h 2549420"/>
                <a:gd name="connsiteX7" fmla="*/ 1289292 w 1358028"/>
                <a:gd name="connsiteY7" fmla="*/ 2462690 h 2549420"/>
                <a:gd name="connsiteX8" fmla="*/ 1358028 w 1358028"/>
                <a:gd name="connsiteY8" fmla="*/ 2415534 h 2549420"/>
                <a:gd name="connsiteX9" fmla="*/ 1336478 w 1358028"/>
                <a:gd name="connsiteY9" fmla="*/ 2440276 h 2549420"/>
                <a:gd name="connsiteX10" fmla="*/ 1129892 w 1358028"/>
                <a:gd name="connsiteY10" fmla="*/ 2541983 h 2549420"/>
                <a:gd name="connsiteX11" fmla="*/ 747463 w 1358028"/>
                <a:gd name="connsiteY11" fmla="*/ 2462084 h 2549420"/>
                <a:gd name="connsiteX12" fmla="*/ 347927 w 1358028"/>
                <a:gd name="connsiteY12" fmla="*/ 2061026 h 2549420"/>
                <a:gd name="connsiteX13" fmla="*/ 193752 w 1358028"/>
                <a:gd name="connsiteY13" fmla="*/ 1289474 h 2549420"/>
                <a:gd name="connsiteX14" fmla="*/ 220571 w 1358028"/>
                <a:gd name="connsiteY14" fmla="*/ 494457 h 2549420"/>
                <a:gd name="connsiteX15" fmla="*/ 0 w 1358028"/>
                <a:gd name="connsiteY15" fmla="*/ 3031 h 254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8028" h="2549420">
                  <a:moveTo>
                    <a:pt x="100892" y="0"/>
                  </a:moveTo>
                  <a:lnTo>
                    <a:pt x="102188" y="882"/>
                  </a:lnTo>
                  <a:cubicBezTo>
                    <a:pt x="222902" y="103837"/>
                    <a:pt x="259775" y="288947"/>
                    <a:pt x="265737" y="453513"/>
                  </a:cubicBezTo>
                  <a:cubicBezTo>
                    <a:pt x="275450" y="718599"/>
                    <a:pt x="241817" y="983444"/>
                    <a:pt x="238918" y="1248530"/>
                  </a:cubicBezTo>
                  <a:cubicBezTo>
                    <a:pt x="235946" y="1513856"/>
                    <a:pt x="266317" y="1787124"/>
                    <a:pt x="393093" y="2020082"/>
                  </a:cubicBezTo>
                  <a:cubicBezTo>
                    <a:pt x="484786" y="2187821"/>
                    <a:pt x="625116" y="2328848"/>
                    <a:pt x="792629" y="2421140"/>
                  </a:cubicBezTo>
                  <a:cubicBezTo>
                    <a:pt x="909112" y="2485035"/>
                    <a:pt x="1044730" y="2526068"/>
                    <a:pt x="1175058" y="2501039"/>
                  </a:cubicBezTo>
                  <a:cubicBezTo>
                    <a:pt x="1217036" y="2492962"/>
                    <a:pt x="1254987" y="2479910"/>
                    <a:pt x="1289292" y="2462690"/>
                  </a:cubicBezTo>
                  <a:lnTo>
                    <a:pt x="1358028" y="2415534"/>
                  </a:lnTo>
                  <a:lnTo>
                    <a:pt x="1336478" y="2440276"/>
                  </a:lnTo>
                  <a:cubicBezTo>
                    <a:pt x="1281698" y="2489775"/>
                    <a:pt x="1213848" y="2525829"/>
                    <a:pt x="1129892" y="2541983"/>
                  </a:cubicBezTo>
                  <a:cubicBezTo>
                    <a:pt x="999564" y="2567012"/>
                    <a:pt x="863946" y="2525979"/>
                    <a:pt x="747463" y="2462084"/>
                  </a:cubicBezTo>
                  <a:cubicBezTo>
                    <a:pt x="579950" y="2369792"/>
                    <a:pt x="439620" y="2228765"/>
                    <a:pt x="347927" y="2061026"/>
                  </a:cubicBezTo>
                  <a:cubicBezTo>
                    <a:pt x="221151" y="1828068"/>
                    <a:pt x="190780" y="1554800"/>
                    <a:pt x="193752" y="1289474"/>
                  </a:cubicBezTo>
                  <a:cubicBezTo>
                    <a:pt x="196651" y="1024388"/>
                    <a:pt x="230284" y="759543"/>
                    <a:pt x="220571" y="494457"/>
                  </a:cubicBezTo>
                  <a:cubicBezTo>
                    <a:pt x="213758" y="306382"/>
                    <a:pt x="166570" y="91473"/>
                    <a:pt x="0" y="3031"/>
                  </a:cubicBezTo>
                  <a:close/>
                </a:path>
              </a:pathLst>
            </a:custGeom>
            <a:solidFill>
              <a:schemeClr val="tx1">
                <a:alpha val="30000"/>
              </a:schemeClr>
            </a:solidFill>
            <a:ln w="12700">
              <a:miter lim="400000"/>
            </a:ln>
          </p:spPr>
          <p:txBody>
            <a:bodyPr wrap="square" lIns="28575" tIns="28575" rIns="28575" bIns="28575" anchor="ctr">
              <a:noAutofit/>
            </a:bodyPr>
            <a:lstStyle/>
            <a:p>
              <a:pPr algn="ctr"/>
              <a:endParaRPr sz="2100">
                <a:solidFill>
                  <a:srgbClr val="FFFFFF"/>
                </a:solidFill>
              </a:endParaRPr>
            </a:p>
          </p:txBody>
        </p:sp>
      </p:grpSp>
      <p:grpSp>
        <p:nvGrpSpPr>
          <p:cNvPr id="75" name="Group 74">
            <a:extLst>
              <a:ext uri="{FF2B5EF4-FFF2-40B4-BE49-F238E27FC236}">
                <a16:creationId xmlns:a16="http://schemas.microsoft.com/office/drawing/2014/main" id="{A86CBF26-8F8D-4A4A-B602-0A4CA5811B38}"/>
              </a:ext>
            </a:extLst>
          </p:cNvPr>
          <p:cNvGrpSpPr/>
          <p:nvPr/>
        </p:nvGrpSpPr>
        <p:grpSpPr>
          <a:xfrm>
            <a:off x="3190999" y="3319809"/>
            <a:ext cx="2000282" cy="1232163"/>
            <a:chOff x="2222665" y="3283410"/>
            <a:chExt cx="2667042" cy="1642884"/>
          </a:xfrm>
        </p:grpSpPr>
        <p:sp>
          <p:nvSpPr>
            <p:cNvPr id="76" name="Shape">
              <a:extLst>
                <a:ext uri="{FF2B5EF4-FFF2-40B4-BE49-F238E27FC236}">
                  <a16:creationId xmlns:a16="http://schemas.microsoft.com/office/drawing/2014/main" id="{C636DA38-6EEF-40F5-9C02-24BCF2E1870A}"/>
                </a:ext>
              </a:extLst>
            </p:cNvPr>
            <p:cNvSpPr/>
            <p:nvPr/>
          </p:nvSpPr>
          <p:spPr>
            <a:xfrm>
              <a:off x="2222665" y="3283410"/>
              <a:ext cx="2667042" cy="1642867"/>
            </a:xfrm>
            <a:custGeom>
              <a:avLst/>
              <a:gdLst/>
              <a:ahLst/>
              <a:cxnLst>
                <a:cxn ang="0">
                  <a:pos x="wd2" y="hd2"/>
                </a:cxn>
                <a:cxn ang="5400000">
                  <a:pos x="wd2" y="hd2"/>
                </a:cxn>
                <a:cxn ang="10800000">
                  <a:pos x="wd2" y="hd2"/>
                </a:cxn>
                <a:cxn ang="16200000">
                  <a:pos x="wd2" y="hd2"/>
                </a:cxn>
              </a:cxnLst>
              <a:rect l="0" t="0" r="r" b="b"/>
              <a:pathLst>
                <a:path w="20691" h="20619" extrusionOk="0">
                  <a:moveTo>
                    <a:pt x="20106" y="17453"/>
                  </a:moveTo>
                  <a:cubicBezTo>
                    <a:pt x="21600" y="13904"/>
                    <a:pt x="19932" y="9804"/>
                    <a:pt x="18437" y="7110"/>
                  </a:cubicBezTo>
                  <a:cubicBezTo>
                    <a:pt x="17698" y="5782"/>
                    <a:pt x="16849" y="4638"/>
                    <a:pt x="15925" y="3680"/>
                  </a:cubicBezTo>
                  <a:cubicBezTo>
                    <a:pt x="12613" y="249"/>
                    <a:pt x="8312" y="-809"/>
                    <a:pt x="4524" y="616"/>
                  </a:cubicBezTo>
                  <a:cubicBezTo>
                    <a:pt x="2788" y="1267"/>
                    <a:pt x="1054" y="2547"/>
                    <a:pt x="0" y="4871"/>
                  </a:cubicBezTo>
                  <a:cubicBezTo>
                    <a:pt x="1398" y="4183"/>
                    <a:pt x="2834" y="5678"/>
                    <a:pt x="3902" y="7291"/>
                  </a:cubicBezTo>
                  <a:cubicBezTo>
                    <a:pt x="5407" y="9564"/>
                    <a:pt x="6670" y="12217"/>
                    <a:pt x="8107" y="14600"/>
                  </a:cubicBezTo>
                  <a:cubicBezTo>
                    <a:pt x="9541" y="16987"/>
                    <a:pt x="11206" y="19152"/>
                    <a:pt x="13178" y="20099"/>
                  </a:cubicBezTo>
                  <a:cubicBezTo>
                    <a:pt x="14601" y="20784"/>
                    <a:pt x="16142" y="20791"/>
                    <a:pt x="17570" y="20129"/>
                  </a:cubicBezTo>
                  <a:cubicBezTo>
                    <a:pt x="18555" y="19666"/>
                    <a:pt x="19525" y="18830"/>
                    <a:pt x="20106" y="17453"/>
                  </a:cubicBezTo>
                  <a:close/>
                </a:path>
              </a:pathLst>
            </a:custGeom>
            <a:solidFill>
              <a:srgbClr val="E0E32A"/>
            </a:solidFill>
            <a:ln w="12700">
              <a:miter lim="400000"/>
            </a:ln>
          </p:spPr>
          <p:txBody>
            <a:bodyPr lIns="28575" tIns="28575" rIns="28575" bIns="28575" anchor="ctr"/>
            <a:lstStyle/>
            <a:p>
              <a:pPr algn="ctr">
                <a:defRPr sz="3000">
                  <a:solidFill>
                    <a:srgbClr val="FFFFFF"/>
                  </a:solidFill>
                </a:defRPr>
              </a:pPr>
              <a:endParaRPr sz="900" dirty="0">
                <a:solidFill>
                  <a:schemeClr val="bg1"/>
                </a:solidFill>
              </a:endParaRPr>
            </a:p>
          </p:txBody>
        </p:sp>
        <p:sp>
          <p:nvSpPr>
            <p:cNvPr id="77" name="Freeform: Shape 76">
              <a:extLst>
                <a:ext uri="{FF2B5EF4-FFF2-40B4-BE49-F238E27FC236}">
                  <a16:creationId xmlns:a16="http://schemas.microsoft.com/office/drawing/2014/main" id="{7A71929A-7D62-46F1-A0BE-EC0C6903D3BC}"/>
                </a:ext>
              </a:extLst>
            </p:cNvPr>
            <p:cNvSpPr/>
            <p:nvPr/>
          </p:nvSpPr>
          <p:spPr>
            <a:xfrm>
              <a:off x="2222665" y="3544119"/>
              <a:ext cx="2544422" cy="1382175"/>
            </a:xfrm>
            <a:custGeom>
              <a:avLst/>
              <a:gdLst>
                <a:gd name="connsiteX0" fmla="*/ 122295 w 2544422"/>
                <a:gd name="connsiteY0" fmla="*/ 0 h 1382175"/>
                <a:gd name="connsiteX1" fmla="*/ 100051 w 2544422"/>
                <a:gd name="connsiteY1" fmla="*/ 20851 h 1382175"/>
                <a:gd name="connsiteX2" fmla="*/ 45166 w 2544422"/>
                <a:gd name="connsiteY2" fmla="*/ 86455 h 1382175"/>
                <a:gd name="connsiteX3" fmla="*/ 548129 w 2544422"/>
                <a:gd name="connsiteY3" fmla="*/ 279275 h 1382175"/>
                <a:gd name="connsiteX4" fmla="*/ 1090148 w 2544422"/>
                <a:gd name="connsiteY4" fmla="*/ 861636 h 1382175"/>
                <a:gd name="connsiteX5" fmla="*/ 1743793 w 2544422"/>
                <a:gd name="connsiteY5" fmla="*/ 1299782 h 1382175"/>
                <a:gd name="connsiteX6" fmla="*/ 2309915 w 2544422"/>
                <a:gd name="connsiteY6" fmla="*/ 1302172 h 1382175"/>
                <a:gd name="connsiteX7" fmla="*/ 2492887 w 2544422"/>
                <a:gd name="connsiteY7" fmla="*/ 1222873 h 1382175"/>
                <a:gd name="connsiteX8" fmla="*/ 2544422 w 2544422"/>
                <a:gd name="connsiteY8" fmla="*/ 1184105 h 1382175"/>
                <a:gd name="connsiteX9" fmla="*/ 2526820 w 2544422"/>
                <a:gd name="connsiteY9" fmla="*/ 1204313 h 1382175"/>
                <a:gd name="connsiteX10" fmla="*/ 2264749 w 2544422"/>
                <a:gd name="connsiteY10" fmla="*/ 1343116 h 1382175"/>
                <a:gd name="connsiteX11" fmla="*/ 1698627 w 2544422"/>
                <a:gd name="connsiteY11" fmla="*/ 1340726 h 1382175"/>
                <a:gd name="connsiteX12" fmla="*/ 1044982 w 2544422"/>
                <a:gd name="connsiteY12" fmla="*/ 902580 h 1382175"/>
                <a:gd name="connsiteX13" fmla="*/ 502963 w 2544422"/>
                <a:gd name="connsiteY13" fmla="*/ 320219 h 1382175"/>
                <a:gd name="connsiteX14" fmla="*/ 0 w 2544422"/>
                <a:gd name="connsiteY14" fmla="*/ 127399 h 1382175"/>
                <a:gd name="connsiteX15" fmla="*/ 116964 w 2544422"/>
                <a:gd name="connsiteY15" fmla="*/ 3602 h 138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4422" h="1382175">
                  <a:moveTo>
                    <a:pt x="122295" y="0"/>
                  </a:moveTo>
                  <a:lnTo>
                    <a:pt x="100051" y="20851"/>
                  </a:lnTo>
                  <a:cubicBezTo>
                    <a:pt x="80501" y="41463"/>
                    <a:pt x="62149" y="63309"/>
                    <a:pt x="45166" y="86455"/>
                  </a:cubicBezTo>
                  <a:cubicBezTo>
                    <a:pt x="225366" y="31637"/>
                    <a:pt x="410465" y="150755"/>
                    <a:pt x="548129" y="279275"/>
                  </a:cubicBezTo>
                  <a:cubicBezTo>
                    <a:pt x="742121" y="460381"/>
                    <a:pt x="904920" y="671765"/>
                    <a:pt x="1090148" y="861636"/>
                  </a:cubicBezTo>
                  <a:cubicBezTo>
                    <a:pt x="1274988" y="1051826"/>
                    <a:pt x="1489604" y="1224328"/>
                    <a:pt x="1743793" y="1299782"/>
                  </a:cubicBezTo>
                  <a:cubicBezTo>
                    <a:pt x="1927215" y="1354361"/>
                    <a:pt x="2125848" y="1354919"/>
                    <a:pt x="2309915" y="1302172"/>
                  </a:cubicBezTo>
                  <a:cubicBezTo>
                    <a:pt x="2373398" y="1283727"/>
                    <a:pt x="2436397" y="1257852"/>
                    <a:pt x="2492887" y="1222873"/>
                  </a:cubicBezTo>
                  <a:lnTo>
                    <a:pt x="2544422" y="1184105"/>
                  </a:lnTo>
                  <a:lnTo>
                    <a:pt x="2526820" y="1204313"/>
                  </a:lnTo>
                  <a:cubicBezTo>
                    <a:pt x="2454110" y="1271063"/>
                    <a:pt x="2359973" y="1315448"/>
                    <a:pt x="2264749" y="1343116"/>
                  </a:cubicBezTo>
                  <a:cubicBezTo>
                    <a:pt x="2080682" y="1395863"/>
                    <a:pt x="1882049" y="1395305"/>
                    <a:pt x="1698627" y="1340726"/>
                  </a:cubicBezTo>
                  <a:cubicBezTo>
                    <a:pt x="1444438" y="1265272"/>
                    <a:pt x="1229822" y="1092770"/>
                    <a:pt x="1044982" y="902580"/>
                  </a:cubicBezTo>
                  <a:cubicBezTo>
                    <a:pt x="859754" y="712709"/>
                    <a:pt x="696955" y="501325"/>
                    <a:pt x="502963" y="320219"/>
                  </a:cubicBezTo>
                  <a:cubicBezTo>
                    <a:pt x="365299" y="191699"/>
                    <a:pt x="180200" y="72581"/>
                    <a:pt x="0" y="127399"/>
                  </a:cubicBezTo>
                  <a:cubicBezTo>
                    <a:pt x="33965" y="81107"/>
                    <a:pt x="73408" y="40013"/>
                    <a:pt x="116964" y="3602"/>
                  </a:cubicBezTo>
                  <a:close/>
                </a:path>
              </a:pathLst>
            </a:custGeom>
            <a:solidFill>
              <a:schemeClr val="tx1">
                <a:alpha val="30000"/>
              </a:schemeClr>
            </a:solidFill>
            <a:ln w="12700">
              <a:miter lim="400000"/>
            </a:ln>
          </p:spPr>
          <p:txBody>
            <a:bodyPr wrap="square" lIns="28575" tIns="28575" rIns="28575" bIns="28575" anchor="ctr">
              <a:noAutofit/>
            </a:bodyPr>
            <a:lstStyle/>
            <a:p>
              <a:pPr algn="ctr"/>
              <a:endParaRPr sz="2100" dirty="0">
                <a:solidFill>
                  <a:srgbClr val="FFFFFF"/>
                </a:solidFill>
              </a:endParaRPr>
            </a:p>
          </p:txBody>
        </p:sp>
      </p:grpSp>
      <p:grpSp>
        <p:nvGrpSpPr>
          <p:cNvPr id="78" name="Group 77">
            <a:extLst>
              <a:ext uri="{FF2B5EF4-FFF2-40B4-BE49-F238E27FC236}">
                <a16:creationId xmlns:a16="http://schemas.microsoft.com/office/drawing/2014/main" id="{0AC6678E-66E1-4242-B103-6EAB4C7A3309}"/>
              </a:ext>
            </a:extLst>
          </p:cNvPr>
          <p:cNvGrpSpPr/>
          <p:nvPr/>
        </p:nvGrpSpPr>
        <p:grpSpPr>
          <a:xfrm>
            <a:off x="5070652" y="3968236"/>
            <a:ext cx="2026485" cy="2032514"/>
            <a:chOff x="4728868" y="4050011"/>
            <a:chExt cx="2701980" cy="2250578"/>
          </a:xfrm>
        </p:grpSpPr>
        <p:sp>
          <p:nvSpPr>
            <p:cNvPr id="79" name="Shape">
              <a:extLst>
                <a:ext uri="{FF2B5EF4-FFF2-40B4-BE49-F238E27FC236}">
                  <a16:creationId xmlns:a16="http://schemas.microsoft.com/office/drawing/2014/main" id="{0D2AB93A-B93E-48EC-900B-3A12770F40FA}"/>
                </a:ext>
              </a:extLst>
            </p:cNvPr>
            <p:cNvSpPr/>
            <p:nvPr/>
          </p:nvSpPr>
          <p:spPr>
            <a:xfrm>
              <a:off x="4728868" y="4050011"/>
              <a:ext cx="2701980" cy="2250578"/>
            </a:xfrm>
            <a:custGeom>
              <a:avLst/>
              <a:gdLst/>
              <a:ahLst/>
              <a:cxnLst>
                <a:cxn ang="0">
                  <a:pos x="wd2" y="hd2"/>
                </a:cxn>
                <a:cxn ang="5400000">
                  <a:pos x="wd2" y="hd2"/>
                </a:cxn>
                <a:cxn ang="10800000">
                  <a:pos x="wd2" y="hd2"/>
                </a:cxn>
                <a:cxn ang="16200000">
                  <a:pos x="wd2" y="hd2"/>
                </a:cxn>
              </a:cxnLst>
              <a:rect l="0" t="0" r="r" b="b"/>
              <a:pathLst>
                <a:path w="21600" h="21600" extrusionOk="0">
                  <a:moveTo>
                    <a:pt x="21600" y="3523"/>
                  </a:moveTo>
                  <a:cubicBezTo>
                    <a:pt x="19622" y="6582"/>
                    <a:pt x="16301" y="8311"/>
                    <a:pt x="13089" y="7955"/>
                  </a:cubicBezTo>
                  <a:cubicBezTo>
                    <a:pt x="12992" y="6670"/>
                    <a:pt x="12898" y="5351"/>
                    <a:pt x="13183" y="4109"/>
                  </a:cubicBezTo>
                  <a:cubicBezTo>
                    <a:pt x="13471" y="2867"/>
                    <a:pt x="14225" y="1692"/>
                    <a:pt x="15274" y="1412"/>
                  </a:cubicBezTo>
                  <a:cubicBezTo>
                    <a:pt x="13970" y="1554"/>
                    <a:pt x="12752" y="2541"/>
                    <a:pt x="12153" y="3939"/>
                  </a:cubicBezTo>
                  <a:cubicBezTo>
                    <a:pt x="11620" y="2705"/>
                    <a:pt x="11253" y="1370"/>
                    <a:pt x="11066" y="0"/>
                  </a:cubicBezTo>
                  <a:cubicBezTo>
                    <a:pt x="10135" y="2473"/>
                    <a:pt x="10215" y="5464"/>
                    <a:pt x="11281" y="7858"/>
                  </a:cubicBezTo>
                  <a:cubicBezTo>
                    <a:pt x="10098" y="7414"/>
                    <a:pt x="8969" y="6752"/>
                    <a:pt x="7950" y="5903"/>
                  </a:cubicBezTo>
                  <a:cubicBezTo>
                    <a:pt x="7757" y="5742"/>
                    <a:pt x="7564" y="5569"/>
                    <a:pt x="7448" y="5323"/>
                  </a:cubicBezTo>
                  <a:cubicBezTo>
                    <a:pt x="7297" y="4997"/>
                    <a:pt x="7309" y="4601"/>
                    <a:pt x="7337" y="4231"/>
                  </a:cubicBezTo>
                  <a:cubicBezTo>
                    <a:pt x="7436" y="2977"/>
                    <a:pt x="7682" y="1737"/>
                    <a:pt x="8066" y="563"/>
                  </a:cubicBezTo>
                  <a:cubicBezTo>
                    <a:pt x="7092" y="1288"/>
                    <a:pt x="6369" y="2479"/>
                    <a:pt x="6093" y="3815"/>
                  </a:cubicBezTo>
                  <a:cubicBezTo>
                    <a:pt x="5301" y="2997"/>
                    <a:pt x="4589" y="2069"/>
                    <a:pt x="3974" y="1056"/>
                  </a:cubicBezTo>
                  <a:cubicBezTo>
                    <a:pt x="4094" y="3447"/>
                    <a:pt x="5103" y="5750"/>
                    <a:pt x="6675" y="7225"/>
                  </a:cubicBezTo>
                  <a:cubicBezTo>
                    <a:pt x="5235" y="7742"/>
                    <a:pt x="3545" y="7024"/>
                    <a:pt x="2699" y="5532"/>
                  </a:cubicBezTo>
                  <a:cubicBezTo>
                    <a:pt x="2654" y="6274"/>
                    <a:pt x="2883" y="7032"/>
                    <a:pt x="3316" y="7564"/>
                  </a:cubicBezTo>
                  <a:cubicBezTo>
                    <a:pt x="2209" y="7604"/>
                    <a:pt x="1096" y="7527"/>
                    <a:pt x="0" y="7335"/>
                  </a:cubicBezTo>
                  <a:cubicBezTo>
                    <a:pt x="1247" y="8487"/>
                    <a:pt x="2913" y="8744"/>
                    <a:pt x="4485" y="8713"/>
                  </a:cubicBezTo>
                  <a:cubicBezTo>
                    <a:pt x="6058" y="8682"/>
                    <a:pt x="7639" y="8405"/>
                    <a:pt x="9200" y="8648"/>
                  </a:cubicBezTo>
                  <a:cubicBezTo>
                    <a:pt x="9447" y="8688"/>
                    <a:pt x="9706" y="8747"/>
                    <a:pt x="9890" y="8948"/>
                  </a:cubicBezTo>
                  <a:cubicBezTo>
                    <a:pt x="10083" y="9160"/>
                    <a:pt x="10154" y="9486"/>
                    <a:pt x="10208" y="9797"/>
                  </a:cubicBezTo>
                  <a:cubicBezTo>
                    <a:pt x="10635" y="12259"/>
                    <a:pt x="10557" y="14842"/>
                    <a:pt x="9984" y="17259"/>
                  </a:cubicBezTo>
                  <a:cubicBezTo>
                    <a:pt x="9678" y="18547"/>
                    <a:pt x="9145" y="19902"/>
                    <a:pt x="8122" y="20437"/>
                  </a:cubicBezTo>
                  <a:cubicBezTo>
                    <a:pt x="7151" y="20946"/>
                    <a:pt x="5919" y="20610"/>
                    <a:pt x="5077" y="21382"/>
                  </a:cubicBezTo>
                  <a:lnTo>
                    <a:pt x="17916" y="21600"/>
                  </a:lnTo>
                  <a:cubicBezTo>
                    <a:pt x="16876" y="20932"/>
                    <a:pt x="15585" y="20893"/>
                    <a:pt x="14649" y="20032"/>
                  </a:cubicBezTo>
                  <a:cubicBezTo>
                    <a:pt x="13697" y="19158"/>
                    <a:pt x="13341" y="17638"/>
                    <a:pt x="13195" y="16209"/>
                  </a:cubicBezTo>
                  <a:cubicBezTo>
                    <a:pt x="12994" y="14268"/>
                    <a:pt x="13075" y="12290"/>
                    <a:pt x="13426" y="10380"/>
                  </a:cubicBezTo>
                  <a:cubicBezTo>
                    <a:pt x="13485" y="10060"/>
                    <a:pt x="13558" y="9729"/>
                    <a:pt x="13732" y="9477"/>
                  </a:cubicBezTo>
                  <a:cubicBezTo>
                    <a:pt x="13968" y="9140"/>
                    <a:pt x="14347" y="9007"/>
                    <a:pt x="14708" y="8925"/>
                  </a:cubicBezTo>
                  <a:cubicBezTo>
                    <a:pt x="16801" y="8447"/>
                    <a:pt x="19116" y="9075"/>
                    <a:pt x="20987" y="7853"/>
                  </a:cubicBezTo>
                  <a:cubicBezTo>
                    <a:pt x="20419" y="7881"/>
                    <a:pt x="19849" y="7864"/>
                    <a:pt x="19281" y="7793"/>
                  </a:cubicBezTo>
                  <a:cubicBezTo>
                    <a:pt x="20504" y="6845"/>
                    <a:pt x="21369" y="5252"/>
                    <a:pt x="21600" y="3523"/>
                  </a:cubicBezTo>
                  <a:close/>
                </a:path>
              </a:pathLst>
            </a:custGeom>
            <a:solidFill>
              <a:srgbClr val="744818"/>
            </a:solidFill>
            <a:ln w="12700">
              <a:miter lim="400000"/>
            </a:ln>
          </p:spPr>
          <p:txBody>
            <a:bodyPr lIns="28575" tIns="28575" rIns="28575" bIns="28575" anchor="ctr"/>
            <a:lstStyle/>
            <a:p>
              <a:pPr algn="ctr">
                <a:defRPr sz="3000">
                  <a:solidFill>
                    <a:srgbClr val="FFFFFF"/>
                  </a:solidFill>
                </a:defRPr>
              </a:pPr>
              <a:endParaRPr sz="2100"/>
            </a:p>
          </p:txBody>
        </p:sp>
        <p:sp>
          <p:nvSpPr>
            <p:cNvPr id="80" name="Freeform: Shape 79">
              <a:extLst>
                <a:ext uri="{FF2B5EF4-FFF2-40B4-BE49-F238E27FC236}">
                  <a16:creationId xmlns:a16="http://schemas.microsoft.com/office/drawing/2014/main" id="{8AE2725C-5E9B-444D-8CE0-70E60B1A69D2}"/>
                </a:ext>
              </a:extLst>
            </p:cNvPr>
            <p:cNvSpPr/>
            <p:nvPr/>
          </p:nvSpPr>
          <p:spPr>
            <a:xfrm>
              <a:off x="4728868" y="4050011"/>
              <a:ext cx="2701980" cy="2250578"/>
            </a:xfrm>
            <a:custGeom>
              <a:avLst/>
              <a:gdLst>
                <a:gd name="connsiteX0" fmla="*/ 699320 w 2701980"/>
                <a:gd name="connsiteY0" fmla="*/ 2194365 h 2250578"/>
                <a:gd name="connsiteX1" fmla="*/ 2154953 w 2701980"/>
                <a:gd name="connsiteY1" fmla="*/ 2214952 h 2250578"/>
                <a:gd name="connsiteX2" fmla="*/ 2241142 w 2701980"/>
                <a:gd name="connsiteY2" fmla="*/ 2250578 h 2250578"/>
                <a:gd name="connsiteX3" fmla="*/ 635091 w 2701980"/>
                <a:gd name="connsiteY3" fmla="*/ 2227864 h 2250578"/>
                <a:gd name="connsiteX4" fmla="*/ 676716 w 2701980"/>
                <a:gd name="connsiteY4" fmla="*/ 2202714 h 2250578"/>
                <a:gd name="connsiteX5" fmla="*/ 2625299 w 2701980"/>
                <a:gd name="connsiteY5" fmla="*/ 818231 h 2250578"/>
                <a:gd name="connsiteX6" fmla="*/ 1839848 w 2701980"/>
                <a:gd name="connsiteY6" fmla="*/ 929927 h 2250578"/>
                <a:gd name="connsiteX7" fmla="*/ 1772940 w 2701980"/>
                <a:gd name="connsiteY7" fmla="*/ 948720 h 2250578"/>
                <a:gd name="connsiteX8" fmla="*/ 1755327 w 2701980"/>
                <a:gd name="connsiteY8" fmla="*/ 958186 h 2250578"/>
                <a:gd name="connsiteX9" fmla="*/ 1757861 w 2701980"/>
                <a:gd name="connsiteY9" fmla="*/ 953601 h 2250578"/>
                <a:gd name="connsiteX10" fmla="*/ 1879950 w 2701980"/>
                <a:gd name="connsiteY10" fmla="*/ 896087 h 2250578"/>
                <a:gd name="connsiteX11" fmla="*/ 2575193 w 2701980"/>
                <a:gd name="connsiteY11" fmla="*/ 823704 h 2250578"/>
                <a:gd name="connsiteX12" fmla="*/ 2587142 w 2701980"/>
                <a:gd name="connsiteY12" fmla="*/ 818497 h 2250578"/>
                <a:gd name="connsiteX13" fmla="*/ 0 w 2701980"/>
                <a:gd name="connsiteY13" fmla="*/ 764259 h 2250578"/>
                <a:gd name="connsiteX14" fmla="*/ 109172 w 2701980"/>
                <a:gd name="connsiteY14" fmla="*/ 775338 h 2250578"/>
                <a:gd name="connsiteX15" fmla="*/ 165919 w 2701980"/>
                <a:gd name="connsiteY15" fmla="*/ 803946 h 2250578"/>
                <a:gd name="connsiteX16" fmla="*/ 601138 w 2701980"/>
                <a:gd name="connsiteY16" fmla="*/ 873998 h 2250578"/>
                <a:gd name="connsiteX17" fmla="*/ 1190946 w 2701980"/>
                <a:gd name="connsiteY17" fmla="*/ 867225 h 2250578"/>
                <a:gd name="connsiteX18" fmla="*/ 1277259 w 2701980"/>
                <a:gd name="connsiteY18" fmla="*/ 898483 h 2250578"/>
                <a:gd name="connsiteX19" fmla="*/ 1317038 w 2701980"/>
                <a:gd name="connsiteY19" fmla="*/ 986943 h 2250578"/>
                <a:gd name="connsiteX20" fmla="*/ 1289017 w 2701980"/>
                <a:gd name="connsiteY20" fmla="*/ 1764435 h 2250578"/>
                <a:gd name="connsiteX21" fmla="*/ 1141094 w 2701980"/>
                <a:gd name="connsiteY21" fmla="*/ 2039178 h 2250578"/>
                <a:gd name="connsiteX22" fmla="*/ 1105547 w 2701980"/>
                <a:gd name="connsiteY22" fmla="*/ 2067438 h 2250578"/>
                <a:gd name="connsiteX23" fmla="*/ 1166089 w 2701980"/>
                <a:gd name="connsiteY23" fmla="*/ 1993260 h 2250578"/>
                <a:gd name="connsiteX24" fmla="*/ 1248915 w 2701980"/>
                <a:gd name="connsiteY24" fmla="*/ 1798275 h 2250578"/>
                <a:gd name="connsiteX25" fmla="*/ 1276936 w 2701980"/>
                <a:gd name="connsiteY25" fmla="*/ 1020783 h 2250578"/>
                <a:gd name="connsiteX26" fmla="*/ 1237157 w 2701980"/>
                <a:gd name="connsiteY26" fmla="*/ 932323 h 2250578"/>
                <a:gd name="connsiteX27" fmla="*/ 1150844 w 2701980"/>
                <a:gd name="connsiteY27" fmla="*/ 901065 h 2250578"/>
                <a:gd name="connsiteX28" fmla="*/ 561036 w 2701980"/>
                <a:gd name="connsiteY28" fmla="*/ 907838 h 2250578"/>
                <a:gd name="connsiteX29" fmla="*/ 0 w 2701980"/>
                <a:gd name="connsiteY29" fmla="*/ 764259 h 2250578"/>
                <a:gd name="connsiteX30" fmla="*/ 2520752 w 2701980"/>
                <a:gd name="connsiteY30" fmla="*/ 722347 h 2250578"/>
                <a:gd name="connsiteX31" fmla="*/ 2517697 w 2701980"/>
                <a:gd name="connsiteY31" fmla="*/ 726126 h 2250578"/>
                <a:gd name="connsiteX32" fmla="*/ 2453477 w 2701980"/>
                <a:gd name="connsiteY32" fmla="*/ 778237 h 2250578"/>
                <a:gd name="connsiteX33" fmla="*/ 2451995 w 2701980"/>
                <a:gd name="connsiteY33" fmla="*/ 778140 h 2250578"/>
                <a:gd name="connsiteX34" fmla="*/ 337623 w 2701980"/>
                <a:gd name="connsiteY34" fmla="*/ 576398 h 2250578"/>
                <a:gd name="connsiteX35" fmla="*/ 381990 w 2701980"/>
                <a:gd name="connsiteY35" fmla="*/ 630820 h 2250578"/>
                <a:gd name="connsiteX36" fmla="*/ 388951 w 2701980"/>
                <a:gd name="connsiteY36" fmla="*/ 636941 h 2250578"/>
                <a:gd name="connsiteX37" fmla="*/ 393893 w 2701980"/>
                <a:gd name="connsiteY37" fmla="*/ 656624 h 2250578"/>
                <a:gd name="connsiteX38" fmla="*/ 454906 w 2701980"/>
                <a:gd name="connsiteY38" fmla="*/ 754279 h 2250578"/>
                <a:gd name="connsiteX39" fmla="*/ 387580 w 2701980"/>
                <a:gd name="connsiteY39" fmla="*/ 753352 h 2250578"/>
                <a:gd name="connsiteX40" fmla="*/ 379102 w 2701980"/>
                <a:gd name="connsiteY40" fmla="*/ 742525 h 2250578"/>
                <a:gd name="connsiteX41" fmla="*/ 337623 w 2701980"/>
                <a:gd name="connsiteY41" fmla="*/ 576398 h 2250578"/>
                <a:gd name="connsiteX42" fmla="*/ 2701980 w 2701980"/>
                <a:gd name="connsiteY42" fmla="*/ 367074 h 2250578"/>
                <a:gd name="connsiteX43" fmla="*/ 2697521 w 2701980"/>
                <a:gd name="connsiteY43" fmla="*/ 383378 h 2250578"/>
                <a:gd name="connsiteX44" fmla="*/ 2641775 w 2701980"/>
                <a:gd name="connsiteY44" fmla="*/ 446107 h 2250578"/>
                <a:gd name="connsiteX45" fmla="*/ 2527847 w 2701980"/>
                <a:gd name="connsiteY45" fmla="*/ 545067 h 2250578"/>
                <a:gd name="connsiteX46" fmla="*/ 2522828 w 2701980"/>
                <a:gd name="connsiteY46" fmla="*/ 548434 h 2250578"/>
                <a:gd name="connsiteX47" fmla="*/ 2601673 w 2701980"/>
                <a:gd name="connsiteY47" fmla="*/ 479947 h 2250578"/>
                <a:gd name="connsiteX48" fmla="*/ 2701980 w 2701980"/>
                <a:gd name="connsiteY48" fmla="*/ 367074 h 2250578"/>
                <a:gd name="connsiteX49" fmla="*/ 1685037 w 2701980"/>
                <a:gd name="connsiteY49" fmla="*/ 228334 h 2250578"/>
                <a:gd name="connsiteX50" fmla="*/ 1630015 w 2701980"/>
                <a:gd name="connsiteY50" fmla="*/ 276067 h 2250578"/>
                <a:gd name="connsiteX51" fmla="*/ 1560341 w 2701980"/>
                <a:gd name="connsiteY51" fmla="*/ 376578 h 2250578"/>
                <a:gd name="connsiteX52" fmla="*/ 1554049 w 2701980"/>
                <a:gd name="connsiteY52" fmla="*/ 361644 h 2250578"/>
                <a:gd name="connsiteX53" fmla="*/ 1589913 w 2701980"/>
                <a:gd name="connsiteY53" fmla="*/ 309907 h 2250578"/>
                <a:gd name="connsiteX54" fmla="*/ 1682374 w 2701980"/>
                <a:gd name="connsiteY54" fmla="*/ 229695 h 2250578"/>
                <a:gd name="connsiteX55" fmla="*/ 1910650 w 2701980"/>
                <a:gd name="connsiteY55" fmla="*/ 147121 h 2250578"/>
                <a:gd name="connsiteX56" fmla="*/ 1863214 w 2701980"/>
                <a:gd name="connsiteY56" fmla="*/ 162264 h 2250578"/>
                <a:gd name="connsiteX57" fmla="*/ 1821598 w 2701980"/>
                <a:gd name="connsiteY57" fmla="*/ 184035 h 2250578"/>
                <a:gd name="connsiteX58" fmla="*/ 1854032 w 2701980"/>
                <a:gd name="connsiteY58" fmla="*/ 156088 h 2250578"/>
                <a:gd name="connsiteX59" fmla="*/ 497115 w 2701980"/>
                <a:gd name="connsiteY59" fmla="*/ 110028 h 2250578"/>
                <a:gd name="connsiteX60" fmla="*/ 548912 w 2701980"/>
                <a:gd name="connsiteY60" fmla="*/ 173134 h 2250578"/>
                <a:gd name="connsiteX61" fmla="*/ 568689 w 2701980"/>
                <a:gd name="connsiteY61" fmla="*/ 260110 h 2250578"/>
                <a:gd name="connsiteX62" fmla="*/ 875089 w 2701980"/>
                <a:gd name="connsiteY62" fmla="*/ 718958 h 2250578"/>
                <a:gd name="connsiteX63" fmla="*/ 811399 w 2701980"/>
                <a:gd name="connsiteY63" fmla="*/ 732171 h 2250578"/>
                <a:gd name="connsiteX64" fmla="*/ 764627 w 2701980"/>
                <a:gd name="connsiteY64" fmla="*/ 691272 h 2250578"/>
                <a:gd name="connsiteX65" fmla="*/ 497115 w 2701980"/>
                <a:gd name="connsiteY65" fmla="*/ 110028 h 2250578"/>
                <a:gd name="connsiteX66" fmla="*/ 955462 w 2701980"/>
                <a:gd name="connsiteY66" fmla="*/ 99690 h 2250578"/>
                <a:gd name="connsiteX67" fmla="*/ 892946 w 2701980"/>
                <a:gd name="connsiteY67" fmla="*/ 170366 h 2250578"/>
                <a:gd name="connsiteX68" fmla="*/ 802286 w 2701980"/>
                <a:gd name="connsiteY68" fmla="*/ 363658 h 2250578"/>
                <a:gd name="connsiteX69" fmla="*/ 781422 w 2701980"/>
                <a:gd name="connsiteY69" fmla="*/ 343494 h 2250578"/>
                <a:gd name="connsiteX70" fmla="*/ 798179 w 2701980"/>
                <a:gd name="connsiteY70" fmla="*/ 296452 h 2250578"/>
                <a:gd name="connsiteX71" fmla="*/ 923880 w 2701980"/>
                <a:gd name="connsiteY71" fmla="*/ 123898 h 2250578"/>
                <a:gd name="connsiteX72" fmla="*/ 1384265 w 2701980"/>
                <a:gd name="connsiteY72" fmla="*/ 0 h 2250578"/>
                <a:gd name="connsiteX73" fmla="*/ 1394918 w 2701980"/>
                <a:gd name="connsiteY73" fmla="*/ 43333 h 2250578"/>
                <a:gd name="connsiteX74" fmla="*/ 1386616 w 2701980"/>
                <a:gd name="connsiteY74" fmla="*/ 65090 h 2250578"/>
                <a:gd name="connsiteX75" fmla="*/ 1451261 w 2701980"/>
                <a:gd name="connsiteY75" fmla="*/ 784912 h 2250578"/>
                <a:gd name="connsiteX76" fmla="*/ 1384764 w 2701980"/>
                <a:gd name="connsiteY76" fmla="*/ 761310 h 2250578"/>
                <a:gd name="connsiteX77" fmla="*/ 1366942 w 2701980"/>
                <a:gd name="connsiteY77" fmla="*/ 722524 h 2250578"/>
                <a:gd name="connsiteX78" fmla="*/ 1384265 w 2701980"/>
                <a:gd name="connsiteY78" fmla="*/ 0 h 225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701980" h="2250578">
                  <a:moveTo>
                    <a:pt x="699320" y="2194365"/>
                  </a:moveTo>
                  <a:lnTo>
                    <a:pt x="2154953" y="2214952"/>
                  </a:lnTo>
                  <a:lnTo>
                    <a:pt x="2241142" y="2250578"/>
                  </a:lnTo>
                  <a:lnTo>
                    <a:pt x="635091" y="2227864"/>
                  </a:lnTo>
                  <a:cubicBezTo>
                    <a:pt x="648257" y="2217810"/>
                    <a:pt x="662185" y="2209559"/>
                    <a:pt x="676716" y="2202714"/>
                  </a:cubicBezTo>
                  <a:close/>
                  <a:moveTo>
                    <a:pt x="2625299" y="818231"/>
                  </a:moveTo>
                  <a:cubicBezTo>
                    <a:pt x="2391252" y="945556"/>
                    <a:pt x="2101665" y="880122"/>
                    <a:pt x="1839848" y="929927"/>
                  </a:cubicBezTo>
                  <a:cubicBezTo>
                    <a:pt x="1817269" y="934199"/>
                    <a:pt x="1794127" y="939799"/>
                    <a:pt x="1772940" y="948720"/>
                  </a:cubicBezTo>
                  <a:lnTo>
                    <a:pt x="1755327" y="958186"/>
                  </a:lnTo>
                  <a:lnTo>
                    <a:pt x="1757861" y="953601"/>
                  </a:lnTo>
                  <a:cubicBezTo>
                    <a:pt x="1787383" y="918488"/>
                    <a:pt x="1834792" y="904630"/>
                    <a:pt x="1879950" y="896087"/>
                  </a:cubicBezTo>
                  <a:cubicBezTo>
                    <a:pt x="2109040" y="852508"/>
                    <a:pt x="2359391" y="897158"/>
                    <a:pt x="2575193" y="823704"/>
                  </a:cubicBezTo>
                  <a:lnTo>
                    <a:pt x="2587142" y="818497"/>
                  </a:lnTo>
                  <a:close/>
                  <a:moveTo>
                    <a:pt x="0" y="764259"/>
                  </a:moveTo>
                  <a:lnTo>
                    <a:pt x="109172" y="775338"/>
                  </a:lnTo>
                  <a:lnTo>
                    <a:pt x="165919" y="803946"/>
                  </a:lnTo>
                  <a:cubicBezTo>
                    <a:pt x="299558" y="861963"/>
                    <a:pt x="453655" y="876420"/>
                    <a:pt x="601138" y="873998"/>
                  </a:cubicBezTo>
                  <a:cubicBezTo>
                    <a:pt x="797908" y="870768"/>
                    <a:pt x="995677" y="841906"/>
                    <a:pt x="1190946" y="867225"/>
                  </a:cubicBezTo>
                  <a:cubicBezTo>
                    <a:pt x="1221843" y="871393"/>
                    <a:pt x="1254242" y="877540"/>
                    <a:pt x="1277259" y="898483"/>
                  </a:cubicBezTo>
                  <a:cubicBezTo>
                    <a:pt x="1301401" y="920572"/>
                    <a:pt x="1310283" y="954539"/>
                    <a:pt x="1317038" y="986943"/>
                  </a:cubicBezTo>
                  <a:cubicBezTo>
                    <a:pt x="1370452" y="1243467"/>
                    <a:pt x="1360695" y="1512599"/>
                    <a:pt x="1289017" y="1764435"/>
                  </a:cubicBezTo>
                  <a:cubicBezTo>
                    <a:pt x="1260309" y="1865086"/>
                    <a:pt x="1215628" y="1969663"/>
                    <a:pt x="1141094" y="2039178"/>
                  </a:cubicBezTo>
                  <a:lnTo>
                    <a:pt x="1105547" y="2067438"/>
                  </a:lnTo>
                  <a:lnTo>
                    <a:pt x="1166089" y="1993260"/>
                  </a:lnTo>
                  <a:cubicBezTo>
                    <a:pt x="1203538" y="1934221"/>
                    <a:pt x="1229776" y="1865375"/>
                    <a:pt x="1248915" y="1798275"/>
                  </a:cubicBezTo>
                  <a:cubicBezTo>
                    <a:pt x="1320593" y="1546439"/>
                    <a:pt x="1330350" y="1277307"/>
                    <a:pt x="1276936" y="1020783"/>
                  </a:cubicBezTo>
                  <a:cubicBezTo>
                    <a:pt x="1270181" y="988379"/>
                    <a:pt x="1261299" y="954412"/>
                    <a:pt x="1237157" y="932323"/>
                  </a:cubicBezTo>
                  <a:cubicBezTo>
                    <a:pt x="1214140" y="911380"/>
                    <a:pt x="1181741" y="905233"/>
                    <a:pt x="1150844" y="901065"/>
                  </a:cubicBezTo>
                  <a:cubicBezTo>
                    <a:pt x="955575" y="875746"/>
                    <a:pt x="757806" y="904608"/>
                    <a:pt x="561036" y="907838"/>
                  </a:cubicBezTo>
                  <a:cubicBezTo>
                    <a:pt x="364392" y="911068"/>
                    <a:pt x="155990" y="884290"/>
                    <a:pt x="0" y="764259"/>
                  </a:cubicBezTo>
                  <a:close/>
                  <a:moveTo>
                    <a:pt x="2520752" y="722347"/>
                  </a:moveTo>
                  <a:lnTo>
                    <a:pt x="2517697" y="726126"/>
                  </a:lnTo>
                  <a:lnTo>
                    <a:pt x="2453477" y="778237"/>
                  </a:lnTo>
                  <a:lnTo>
                    <a:pt x="2451995" y="778140"/>
                  </a:lnTo>
                  <a:close/>
                  <a:moveTo>
                    <a:pt x="337623" y="576398"/>
                  </a:moveTo>
                  <a:cubicBezTo>
                    <a:pt x="350851" y="595830"/>
                    <a:pt x="365729" y="614002"/>
                    <a:pt x="381990" y="630820"/>
                  </a:cubicBezTo>
                  <a:lnTo>
                    <a:pt x="388951" y="636941"/>
                  </a:lnTo>
                  <a:lnTo>
                    <a:pt x="393893" y="656624"/>
                  </a:lnTo>
                  <a:cubicBezTo>
                    <a:pt x="407121" y="692961"/>
                    <a:pt x="427824" y="726564"/>
                    <a:pt x="454906" y="754279"/>
                  </a:cubicBezTo>
                  <a:lnTo>
                    <a:pt x="387580" y="753352"/>
                  </a:lnTo>
                  <a:lnTo>
                    <a:pt x="379102" y="742525"/>
                  </a:lnTo>
                  <a:cubicBezTo>
                    <a:pt x="348459" y="693303"/>
                    <a:pt x="333401" y="634382"/>
                    <a:pt x="337623" y="576398"/>
                  </a:cubicBezTo>
                  <a:close/>
                  <a:moveTo>
                    <a:pt x="2701980" y="367074"/>
                  </a:moveTo>
                  <a:lnTo>
                    <a:pt x="2697521" y="383378"/>
                  </a:lnTo>
                  <a:lnTo>
                    <a:pt x="2641775" y="446107"/>
                  </a:lnTo>
                  <a:cubicBezTo>
                    <a:pt x="2605951" y="481464"/>
                    <a:pt x="2567857" y="514502"/>
                    <a:pt x="2527847" y="545067"/>
                  </a:cubicBezTo>
                  <a:lnTo>
                    <a:pt x="2522828" y="548434"/>
                  </a:lnTo>
                  <a:lnTo>
                    <a:pt x="2601673" y="479947"/>
                  </a:lnTo>
                  <a:cubicBezTo>
                    <a:pt x="2637498" y="444590"/>
                    <a:pt x="2671051" y="406915"/>
                    <a:pt x="2701980" y="367074"/>
                  </a:cubicBezTo>
                  <a:close/>
                  <a:moveTo>
                    <a:pt x="1685037" y="228334"/>
                  </a:moveTo>
                  <a:lnTo>
                    <a:pt x="1630015" y="276067"/>
                  </a:lnTo>
                  <a:cubicBezTo>
                    <a:pt x="1602646" y="306424"/>
                    <a:pt x="1579074" y="340163"/>
                    <a:pt x="1560341" y="376578"/>
                  </a:cubicBezTo>
                  <a:lnTo>
                    <a:pt x="1554049" y="361644"/>
                  </a:lnTo>
                  <a:lnTo>
                    <a:pt x="1589913" y="309907"/>
                  </a:lnTo>
                  <a:cubicBezTo>
                    <a:pt x="1617283" y="279551"/>
                    <a:pt x="1648450" y="252578"/>
                    <a:pt x="1682374" y="229695"/>
                  </a:cubicBezTo>
                  <a:close/>
                  <a:moveTo>
                    <a:pt x="1910650" y="147121"/>
                  </a:moveTo>
                  <a:cubicBezTo>
                    <a:pt x="1894248" y="150768"/>
                    <a:pt x="1878422" y="155872"/>
                    <a:pt x="1863214" y="162264"/>
                  </a:cubicBezTo>
                  <a:lnTo>
                    <a:pt x="1821598" y="184035"/>
                  </a:lnTo>
                  <a:lnTo>
                    <a:pt x="1854032" y="156088"/>
                  </a:lnTo>
                  <a:close/>
                  <a:moveTo>
                    <a:pt x="497115" y="110028"/>
                  </a:moveTo>
                  <a:lnTo>
                    <a:pt x="548912" y="173134"/>
                  </a:lnTo>
                  <a:lnTo>
                    <a:pt x="568689" y="260110"/>
                  </a:lnTo>
                  <a:cubicBezTo>
                    <a:pt x="619738" y="439902"/>
                    <a:pt x="727606" y="603694"/>
                    <a:pt x="875089" y="718958"/>
                  </a:cubicBezTo>
                  <a:lnTo>
                    <a:pt x="811399" y="732171"/>
                  </a:lnTo>
                  <a:lnTo>
                    <a:pt x="764627" y="691272"/>
                  </a:lnTo>
                  <a:cubicBezTo>
                    <a:pt x="608527" y="538980"/>
                    <a:pt x="510249" y="328014"/>
                    <a:pt x="497115" y="110028"/>
                  </a:cubicBezTo>
                  <a:close/>
                  <a:moveTo>
                    <a:pt x="955462" y="99690"/>
                  </a:moveTo>
                  <a:lnTo>
                    <a:pt x="892946" y="170366"/>
                  </a:lnTo>
                  <a:cubicBezTo>
                    <a:pt x="850790" y="228233"/>
                    <a:pt x="819549" y="294057"/>
                    <a:pt x="802286" y="363658"/>
                  </a:cubicBezTo>
                  <a:lnTo>
                    <a:pt x="781422" y="343494"/>
                  </a:lnTo>
                  <a:lnTo>
                    <a:pt x="798179" y="296452"/>
                  </a:lnTo>
                  <a:cubicBezTo>
                    <a:pt x="828654" y="231673"/>
                    <a:pt x="871576" y="172761"/>
                    <a:pt x="923880" y="123898"/>
                  </a:cubicBezTo>
                  <a:close/>
                  <a:moveTo>
                    <a:pt x="1384265" y="0"/>
                  </a:moveTo>
                  <a:lnTo>
                    <a:pt x="1394918" y="43333"/>
                  </a:lnTo>
                  <a:lnTo>
                    <a:pt x="1386616" y="65090"/>
                  </a:lnTo>
                  <a:cubicBezTo>
                    <a:pt x="1312335" y="300769"/>
                    <a:pt x="1334582" y="566653"/>
                    <a:pt x="1451261" y="784912"/>
                  </a:cubicBezTo>
                  <a:lnTo>
                    <a:pt x="1384764" y="761310"/>
                  </a:lnTo>
                  <a:lnTo>
                    <a:pt x="1366942" y="722524"/>
                  </a:lnTo>
                  <a:cubicBezTo>
                    <a:pt x="1277286" y="492246"/>
                    <a:pt x="1282362" y="225462"/>
                    <a:pt x="1384265" y="0"/>
                  </a:cubicBezTo>
                  <a:close/>
                </a:path>
              </a:pathLst>
            </a:custGeom>
            <a:solidFill>
              <a:schemeClr val="tx1">
                <a:alpha val="30000"/>
              </a:schemeClr>
            </a:solidFill>
            <a:ln w="12700">
              <a:miter lim="400000"/>
            </a:ln>
          </p:spPr>
          <p:txBody>
            <a:bodyPr wrap="square" lIns="28575" tIns="28575" rIns="28575" bIns="28575" anchor="ctr">
              <a:noAutofit/>
            </a:bodyPr>
            <a:lstStyle/>
            <a:p>
              <a:pPr algn="ctr">
                <a:defRPr sz="3000">
                  <a:solidFill>
                    <a:srgbClr val="FFFFFF"/>
                  </a:solidFill>
                </a:defRPr>
              </a:pPr>
              <a:endParaRPr sz="2100"/>
            </a:p>
          </p:txBody>
        </p:sp>
      </p:grpSp>
      <p:grpSp>
        <p:nvGrpSpPr>
          <p:cNvPr id="94" name="Group 93">
            <a:extLst>
              <a:ext uri="{FF2B5EF4-FFF2-40B4-BE49-F238E27FC236}">
                <a16:creationId xmlns:a16="http://schemas.microsoft.com/office/drawing/2014/main" id="{D4CF0D9F-927E-46F2-8E45-EF4688D0F096}"/>
              </a:ext>
            </a:extLst>
          </p:cNvPr>
          <p:cNvGrpSpPr/>
          <p:nvPr/>
        </p:nvGrpSpPr>
        <p:grpSpPr>
          <a:xfrm>
            <a:off x="7841674" y="1560660"/>
            <a:ext cx="1897753" cy="1013596"/>
            <a:chOff x="8921977" y="1480413"/>
            <a:chExt cx="2937088" cy="1229427"/>
          </a:xfrm>
        </p:grpSpPr>
        <p:sp>
          <p:nvSpPr>
            <p:cNvPr id="95" name="TextBox 94">
              <a:extLst>
                <a:ext uri="{FF2B5EF4-FFF2-40B4-BE49-F238E27FC236}">
                  <a16:creationId xmlns:a16="http://schemas.microsoft.com/office/drawing/2014/main" id="{D98FA92B-3724-4A89-8A1A-2FC88E6ECA34}"/>
                </a:ext>
              </a:extLst>
            </p:cNvPr>
            <p:cNvSpPr txBox="1"/>
            <p:nvPr/>
          </p:nvSpPr>
          <p:spPr>
            <a:xfrm>
              <a:off x="8921977" y="1480413"/>
              <a:ext cx="2937088" cy="447976"/>
            </a:xfrm>
            <a:prstGeom prst="rect">
              <a:avLst/>
            </a:prstGeom>
            <a:noFill/>
          </p:spPr>
          <p:txBody>
            <a:bodyPr wrap="square" lIns="0" rIns="0" rtlCol="0" anchor="b">
              <a:spAutoFit/>
            </a:bodyPr>
            <a:lstStyle/>
            <a:p>
              <a:r>
                <a:rPr lang="en-US" b="1" dirty="0"/>
                <a:t>&gt; 30 years</a:t>
              </a:r>
            </a:p>
          </p:txBody>
        </p:sp>
        <p:sp>
          <p:nvSpPr>
            <p:cNvPr id="96" name="TextBox 95">
              <a:extLst>
                <a:ext uri="{FF2B5EF4-FFF2-40B4-BE49-F238E27FC236}">
                  <a16:creationId xmlns:a16="http://schemas.microsoft.com/office/drawing/2014/main" id="{C4BE4423-0F19-4F0F-A7F2-0C2A04ABB137}"/>
                </a:ext>
              </a:extLst>
            </p:cNvPr>
            <p:cNvSpPr txBox="1"/>
            <p:nvPr/>
          </p:nvSpPr>
          <p:spPr>
            <a:xfrm>
              <a:off x="8929773" y="1925882"/>
              <a:ext cx="2929292" cy="783958"/>
            </a:xfrm>
            <a:prstGeom prst="rect">
              <a:avLst/>
            </a:prstGeom>
            <a:noFill/>
          </p:spPr>
          <p:txBody>
            <a:bodyPr wrap="square" lIns="0" rIns="0" rtlCol="0" anchor="t">
              <a:spAutoFit/>
            </a:bodyPr>
            <a:lstStyle/>
            <a:p>
              <a:r>
                <a:rPr lang="en-US" sz="1200" b="1" dirty="0"/>
                <a:t>Non communicable disease screening – HT, DM, Caner (Oral, Breast, Cervical)</a:t>
              </a:r>
            </a:p>
          </p:txBody>
        </p:sp>
      </p:grpSp>
      <p:grpSp>
        <p:nvGrpSpPr>
          <p:cNvPr id="97" name="Group 96">
            <a:extLst>
              <a:ext uri="{FF2B5EF4-FFF2-40B4-BE49-F238E27FC236}">
                <a16:creationId xmlns:a16="http://schemas.microsoft.com/office/drawing/2014/main" id="{3C817DED-35A5-429F-A295-13E7C7BDCB3C}"/>
              </a:ext>
            </a:extLst>
          </p:cNvPr>
          <p:cNvGrpSpPr/>
          <p:nvPr/>
        </p:nvGrpSpPr>
        <p:grpSpPr>
          <a:xfrm>
            <a:off x="8215483" y="4323419"/>
            <a:ext cx="2202816" cy="829116"/>
            <a:chOff x="8921977" y="4042608"/>
            <a:chExt cx="2937088" cy="1105487"/>
          </a:xfrm>
        </p:grpSpPr>
        <p:sp>
          <p:nvSpPr>
            <p:cNvPr id="98" name="TextBox 97">
              <a:extLst>
                <a:ext uri="{FF2B5EF4-FFF2-40B4-BE49-F238E27FC236}">
                  <a16:creationId xmlns:a16="http://schemas.microsoft.com/office/drawing/2014/main" id="{16140788-A0DB-43EA-92B0-55B88FDC3C5E}"/>
                </a:ext>
              </a:extLst>
            </p:cNvPr>
            <p:cNvSpPr txBox="1"/>
            <p:nvPr/>
          </p:nvSpPr>
          <p:spPr>
            <a:xfrm>
              <a:off x="8921977" y="4042608"/>
              <a:ext cx="2937088" cy="492442"/>
            </a:xfrm>
            <a:prstGeom prst="rect">
              <a:avLst/>
            </a:prstGeom>
            <a:noFill/>
          </p:spPr>
          <p:txBody>
            <a:bodyPr wrap="square" lIns="0" rIns="0" rtlCol="0" anchor="b">
              <a:spAutoFit/>
            </a:bodyPr>
            <a:lstStyle/>
            <a:p>
              <a:r>
                <a:rPr lang="en-US" b="1" noProof="1"/>
                <a:t>&gt; 40 years</a:t>
              </a:r>
            </a:p>
          </p:txBody>
        </p:sp>
        <p:sp>
          <p:nvSpPr>
            <p:cNvPr id="99" name="TextBox 98">
              <a:extLst>
                <a:ext uri="{FF2B5EF4-FFF2-40B4-BE49-F238E27FC236}">
                  <a16:creationId xmlns:a16="http://schemas.microsoft.com/office/drawing/2014/main" id="{EC2B42D6-4405-4636-B18F-824ECE4A155E}"/>
                </a:ext>
              </a:extLst>
            </p:cNvPr>
            <p:cNvSpPr txBox="1"/>
            <p:nvPr/>
          </p:nvSpPr>
          <p:spPr>
            <a:xfrm>
              <a:off x="8929772" y="4532542"/>
              <a:ext cx="2929293" cy="615553"/>
            </a:xfrm>
            <a:prstGeom prst="rect">
              <a:avLst/>
            </a:prstGeom>
            <a:noFill/>
          </p:spPr>
          <p:txBody>
            <a:bodyPr wrap="square" lIns="0" rIns="0" rtlCol="0" anchor="t">
              <a:spAutoFit/>
            </a:bodyPr>
            <a:lstStyle/>
            <a:p>
              <a:r>
                <a:rPr lang="en-US" sz="1200" b="1" noProof="1"/>
                <a:t>National Program for Control of blindness</a:t>
              </a:r>
            </a:p>
          </p:txBody>
        </p:sp>
      </p:grpSp>
      <p:grpSp>
        <p:nvGrpSpPr>
          <p:cNvPr id="100" name="Group 99">
            <a:extLst>
              <a:ext uri="{FF2B5EF4-FFF2-40B4-BE49-F238E27FC236}">
                <a16:creationId xmlns:a16="http://schemas.microsoft.com/office/drawing/2014/main" id="{6072605A-3BFC-45D0-AD06-B8D124514C54}"/>
              </a:ext>
            </a:extLst>
          </p:cNvPr>
          <p:cNvGrpSpPr/>
          <p:nvPr/>
        </p:nvGrpSpPr>
        <p:grpSpPr>
          <a:xfrm>
            <a:off x="2071576" y="1795359"/>
            <a:ext cx="1814625" cy="1013782"/>
            <a:chOff x="332936" y="2596988"/>
            <a:chExt cx="2937088" cy="1351709"/>
          </a:xfrm>
        </p:grpSpPr>
        <p:sp>
          <p:nvSpPr>
            <p:cNvPr id="101" name="TextBox 100">
              <a:extLst>
                <a:ext uri="{FF2B5EF4-FFF2-40B4-BE49-F238E27FC236}">
                  <a16:creationId xmlns:a16="http://schemas.microsoft.com/office/drawing/2014/main" id="{B0BCCC63-65FD-474A-BA87-8550B6E4ED37}"/>
                </a:ext>
              </a:extLst>
            </p:cNvPr>
            <p:cNvSpPr txBox="1"/>
            <p:nvPr/>
          </p:nvSpPr>
          <p:spPr>
            <a:xfrm>
              <a:off x="332936" y="2596988"/>
              <a:ext cx="2937088" cy="492442"/>
            </a:xfrm>
            <a:prstGeom prst="rect">
              <a:avLst/>
            </a:prstGeom>
            <a:noFill/>
          </p:spPr>
          <p:txBody>
            <a:bodyPr wrap="square" lIns="0" rIns="0" rtlCol="0" anchor="b">
              <a:spAutoFit/>
            </a:bodyPr>
            <a:lstStyle/>
            <a:p>
              <a:pPr algn="r"/>
              <a:r>
                <a:rPr lang="en-US" b="1" dirty="0"/>
                <a:t>15-49 Years</a:t>
              </a:r>
            </a:p>
          </p:txBody>
        </p:sp>
        <p:sp>
          <p:nvSpPr>
            <p:cNvPr id="102" name="TextBox 101">
              <a:extLst>
                <a:ext uri="{FF2B5EF4-FFF2-40B4-BE49-F238E27FC236}">
                  <a16:creationId xmlns:a16="http://schemas.microsoft.com/office/drawing/2014/main" id="{9138CD7E-5B5E-43F8-BEF6-E4C774F44444}"/>
                </a:ext>
              </a:extLst>
            </p:cNvPr>
            <p:cNvSpPr txBox="1"/>
            <p:nvPr/>
          </p:nvSpPr>
          <p:spPr>
            <a:xfrm>
              <a:off x="340731" y="3086923"/>
              <a:ext cx="2929293" cy="861774"/>
            </a:xfrm>
            <a:prstGeom prst="rect">
              <a:avLst/>
            </a:prstGeom>
            <a:noFill/>
          </p:spPr>
          <p:txBody>
            <a:bodyPr wrap="square" lIns="0" rIns="0" rtlCol="0" anchor="t">
              <a:spAutoFit/>
            </a:bodyPr>
            <a:lstStyle/>
            <a:p>
              <a:r>
                <a:rPr lang="en-US" sz="1200" b="1" dirty="0"/>
                <a:t>Eligible Couple tracking, ANC/PNC services, Family planning services</a:t>
              </a:r>
            </a:p>
          </p:txBody>
        </p:sp>
      </p:grpSp>
      <p:grpSp>
        <p:nvGrpSpPr>
          <p:cNvPr id="103" name="Group 102">
            <a:extLst>
              <a:ext uri="{FF2B5EF4-FFF2-40B4-BE49-F238E27FC236}">
                <a16:creationId xmlns:a16="http://schemas.microsoft.com/office/drawing/2014/main" id="{78924349-FF83-4868-A6C5-BDDE3A227B77}"/>
              </a:ext>
            </a:extLst>
          </p:cNvPr>
          <p:cNvGrpSpPr/>
          <p:nvPr/>
        </p:nvGrpSpPr>
        <p:grpSpPr>
          <a:xfrm>
            <a:off x="1773702" y="4323419"/>
            <a:ext cx="2202816" cy="1013781"/>
            <a:chOff x="332936" y="4621560"/>
            <a:chExt cx="2937088" cy="1351709"/>
          </a:xfrm>
        </p:grpSpPr>
        <p:sp>
          <p:nvSpPr>
            <p:cNvPr id="104" name="TextBox 103">
              <a:extLst>
                <a:ext uri="{FF2B5EF4-FFF2-40B4-BE49-F238E27FC236}">
                  <a16:creationId xmlns:a16="http://schemas.microsoft.com/office/drawing/2014/main" id="{300B8896-3C19-4702-AD0E-A314C504D93D}"/>
                </a:ext>
              </a:extLst>
            </p:cNvPr>
            <p:cNvSpPr txBox="1"/>
            <p:nvPr/>
          </p:nvSpPr>
          <p:spPr>
            <a:xfrm>
              <a:off x="332936" y="4621560"/>
              <a:ext cx="2937088" cy="492443"/>
            </a:xfrm>
            <a:prstGeom prst="rect">
              <a:avLst/>
            </a:prstGeom>
            <a:noFill/>
          </p:spPr>
          <p:txBody>
            <a:bodyPr wrap="square" lIns="0" rIns="0" rtlCol="0" anchor="b">
              <a:spAutoFit/>
            </a:bodyPr>
            <a:lstStyle/>
            <a:p>
              <a:pPr algn="r"/>
              <a:r>
                <a:rPr lang="en-US" b="1" dirty="0"/>
                <a:t>0-5 Years</a:t>
              </a:r>
            </a:p>
          </p:txBody>
        </p:sp>
        <p:sp>
          <p:nvSpPr>
            <p:cNvPr id="105" name="TextBox 104">
              <a:extLst>
                <a:ext uri="{FF2B5EF4-FFF2-40B4-BE49-F238E27FC236}">
                  <a16:creationId xmlns:a16="http://schemas.microsoft.com/office/drawing/2014/main" id="{2E8248BC-4B28-458B-880E-E98DF640DCC2}"/>
                </a:ext>
              </a:extLst>
            </p:cNvPr>
            <p:cNvSpPr txBox="1"/>
            <p:nvPr/>
          </p:nvSpPr>
          <p:spPr>
            <a:xfrm>
              <a:off x="340731" y="5111494"/>
              <a:ext cx="2929293" cy="861775"/>
            </a:xfrm>
            <a:prstGeom prst="rect">
              <a:avLst/>
            </a:prstGeom>
            <a:noFill/>
          </p:spPr>
          <p:txBody>
            <a:bodyPr wrap="square" lIns="0" rIns="0" rtlCol="0" anchor="t">
              <a:spAutoFit/>
            </a:bodyPr>
            <a:lstStyle/>
            <a:p>
              <a:r>
                <a:rPr lang="en-US" sz="1200" b="1" dirty="0"/>
                <a:t>Child registration, Immunization and nutrition &amp; Cerebral Palsy screening</a:t>
              </a:r>
            </a:p>
          </p:txBody>
        </p:sp>
      </p:grpSp>
      <p:grpSp>
        <p:nvGrpSpPr>
          <p:cNvPr id="106" name="Group 105">
            <a:extLst>
              <a:ext uri="{FF2B5EF4-FFF2-40B4-BE49-F238E27FC236}">
                <a16:creationId xmlns:a16="http://schemas.microsoft.com/office/drawing/2014/main" id="{9E0D156A-D777-4ADE-954A-BCE232DD4DC6}"/>
              </a:ext>
            </a:extLst>
          </p:cNvPr>
          <p:cNvGrpSpPr/>
          <p:nvPr/>
        </p:nvGrpSpPr>
        <p:grpSpPr>
          <a:xfrm>
            <a:off x="2050811" y="4275117"/>
            <a:ext cx="562097" cy="346249"/>
            <a:chOff x="2222665" y="3283410"/>
            <a:chExt cx="2667042" cy="1642884"/>
          </a:xfrm>
        </p:grpSpPr>
        <p:sp>
          <p:nvSpPr>
            <p:cNvPr id="107" name="Shape">
              <a:extLst>
                <a:ext uri="{FF2B5EF4-FFF2-40B4-BE49-F238E27FC236}">
                  <a16:creationId xmlns:a16="http://schemas.microsoft.com/office/drawing/2014/main" id="{41862BEA-906E-479D-9B84-AF01FBCAB11B}"/>
                </a:ext>
              </a:extLst>
            </p:cNvPr>
            <p:cNvSpPr/>
            <p:nvPr/>
          </p:nvSpPr>
          <p:spPr>
            <a:xfrm>
              <a:off x="2222665" y="3283410"/>
              <a:ext cx="2667042" cy="1642867"/>
            </a:xfrm>
            <a:custGeom>
              <a:avLst/>
              <a:gdLst/>
              <a:ahLst/>
              <a:cxnLst>
                <a:cxn ang="0">
                  <a:pos x="wd2" y="hd2"/>
                </a:cxn>
                <a:cxn ang="5400000">
                  <a:pos x="wd2" y="hd2"/>
                </a:cxn>
                <a:cxn ang="10800000">
                  <a:pos x="wd2" y="hd2"/>
                </a:cxn>
                <a:cxn ang="16200000">
                  <a:pos x="wd2" y="hd2"/>
                </a:cxn>
              </a:cxnLst>
              <a:rect l="0" t="0" r="r" b="b"/>
              <a:pathLst>
                <a:path w="20691" h="20619" extrusionOk="0">
                  <a:moveTo>
                    <a:pt x="20106" y="17453"/>
                  </a:moveTo>
                  <a:cubicBezTo>
                    <a:pt x="21600" y="13904"/>
                    <a:pt x="19932" y="9804"/>
                    <a:pt x="18437" y="7110"/>
                  </a:cubicBezTo>
                  <a:cubicBezTo>
                    <a:pt x="17698" y="5782"/>
                    <a:pt x="16849" y="4638"/>
                    <a:pt x="15925" y="3680"/>
                  </a:cubicBezTo>
                  <a:cubicBezTo>
                    <a:pt x="12613" y="249"/>
                    <a:pt x="8312" y="-809"/>
                    <a:pt x="4524" y="616"/>
                  </a:cubicBezTo>
                  <a:cubicBezTo>
                    <a:pt x="2788" y="1267"/>
                    <a:pt x="1054" y="2547"/>
                    <a:pt x="0" y="4871"/>
                  </a:cubicBezTo>
                  <a:cubicBezTo>
                    <a:pt x="1398" y="4183"/>
                    <a:pt x="2834" y="5678"/>
                    <a:pt x="3902" y="7291"/>
                  </a:cubicBezTo>
                  <a:cubicBezTo>
                    <a:pt x="5407" y="9564"/>
                    <a:pt x="6670" y="12217"/>
                    <a:pt x="8107" y="14600"/>
                  </a:cubicBezTo>
                  <a:cubicBezTo>
                    <a:pt x="9541" y="16987"/>
                    <a:pt x="11206" y="19152"/>
                    <a:pt x="13178" y="20099"/>
                  </a:cubicBezTo>
                  <a:cubicBezTo>
                    <a:pt x="14601" y="20784"/>
                    <a:pt x="16142" y="20791"/>
                    <a:pt x="17570" y="20129"/>
                  </a:cubicBezTo>
                  <a:cubicBezTo>
                    <a:pt x="18555" y="19666"/>
                    <a:pt x="19525" y="18830"/>
                    <a:pt x="20106" y="17453"/>
                  </a:cubicBezTo>
                  <a:close/>
                </a:path>
              </a:pathLst>
            </a:custGeom>
            <a:solidFill>
              <a:srgbClr val="E0E32A"/>
            </a:solidFill>
            <a:ln w="12700">
              <a:miter lim="400000"/>
            </a:ln>
          </p:spPr>
          <p:txBody>
            <a:bodyPr lIns="28575" tIns="28575" rIns="28575" bIns="28575" anchor="ctr"/>
            <a:lstStyle/>
            <a:p>
              <a:pPr algn="ctr">
                <a:defRPr sz="3000">
                  <a:solidFill>
                    <a:srgbClr val="FFFFFF"/>
                  </a:solidFill>
                </a:defRPr>
              </a:pPr>
              <a:endParaRPr sz="900" dirty="0">
                <a:solidFill>
                  <a:schemeClr val="bg1"/>
                </a:solidFill>
              </a:endParaRPr>
            </a:p>
          </p:txBody>
        </p:sp>
        <p:sp>
          <p:nvSpPr>
            <p:cNvPr id="108" name="Freeform: Shape 107">
              <a:extLst>
                <a:ext uri="{FF2B5EF4-FFF2-40B4-BE49-F238E27FC236}">
                  <a16:creationId xmlns:a16="http://schemas.microsoft.com/office/drawing/2014/main" id="{F3D6412C-89AD-4783-BEB5-C86ECC0992D6}"/>
                </a:ext>
              </a:extLst>
            </p:cNvPr>
            <p:cNvSpPr/>
            <p:nvPr/>
          </p:nvSpPr>
          <p:spPr>
            <a:xfrm>
              <a:off x="2222665" y="3544119"/>
              <a:ext cx="2544422" cy="1382175"/>
            </a:xfrm>
            <a:custGeom>
              <a:avLst/>
              <a:gdLst>
                <a:gd name="connsiteX0" fmla="*/ 122295 w 2544422"/>
                <a:gd name="connsiteY0" fmla="*/ 0 h 1382175"/>
                <a:gd name="connsiteX1" fmla="*/ 100051 w 2544422"/>
                <a:gd name="connsiteY1" fmla="*/ 20851 h 1382175"/>
                <a:gd name="connsiteX2" fmla="*/ 45166 w 2544422"/>
                <a:gd name="connsiteY2" fmla="*/ 86455 h 1382175"/>
                <a:gd name="connsiteX3" fmla="*/ 548129 w 2544422"/>
                <a:gd name="connsiteY3" fmla="*/ 279275 h 1382175"/>
                <a:gd name="connsiteX4" fmla="*/ 1090148 w 2544422"/>
                <a:gd name="connsiteY4" fmla="*/ 861636 h 1382175"/>
                <a:gd name="connsiteX5" fmla="*/ 1743793 w 2544422"/>
                <a:gd name="connsiteY5" fmla="*/ 1299782 h 1382175"/>
                <a:gd name="connsiteX6" fmla="*/ 2309915 w 2544422"/>
                <a:gd name="connsiteY6" fmla="*/ 1302172 h 1382175"/>
                <a:gd name="connsiteX7" fmla="*/ 2492887 w 2544422"/>
                <a:gd name="connsiteY7" fmla="*/ 1222873 h 1382175"/>
                <a:gd name="connsiteX8" fmla="*/ 2544422 w 2544422"/>
                <a:gd name="connsiteY8" fmla="*/ 1184105 h 1382175"/>
                <a:gd name="connsiteX9" fmla="*/ 2526820 w 2544422"/>
                <a:gd name="connsiteY9" fmla="*/ 1204313 h 1382175"/>
                <a:gd name="connsiteX10" fmla="*/ 2264749 w 2544422"/>
                <a:gd name="connsiteY10" fmla="*/ 1343116 h 1382175"/>
                <a:gd name="connsiteX11" fmla="*/ 1698627 w 2544422"/>
                <a:gd name="connsiteY11" fmla="*/ 1340726 h 1382175"/>
                <a:gd name="connsiteX12" fmla="*/ 1044982 w 2544422"/>
                <a:gd name="connsiteY12" fmla="*/ 902580 h 1382175"/>
                <a:gd name="connsiteX13" fmla="*/ 502963 w 2544422"/>
                <a:gd name="connsiteY13" fmla="*/ 320219 h 1382175"/>
                <a:gd name="connsiteX14" fmla="*/ 0 w 2544422"/>
                <a:gd name="connsiteY14" fmla="*/ 127399 h 1382175"/>
                <a:gd name="connsiteX15" fmla="*/ 116964 w 2544422"/>
                <a:gd name="connsiteY15" fmla="*/ 3602 h 138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4422" h="1382175">
                  <a:moveTo>
                    <a:pt x="122295" y="0"/>
                  </a:moveTo>
                  <a:lnTo>
                    <a:pt x="100051" y="20851"/>
                  </a:lnTo>
                  <a:cubicBezTo>
                    <a:pt x="80501" y="41463"/>
                    <a:pt x="62149" y="63309"/>
                    <a:pt x="45166" y="86455"/>
                  </a:cubicBezTo>
                  <a:cubicBezTo>
                    <a:pt x="225366" y="31637"/>
                    <a:pt x="410465" y="150755"/>
                    <a:pt x="548129" y="279275"/>
                  </a:cubicBezTo>
                  <a:cubicBezTo>
                    <a:pt x="742121" y="460381"/>
                    <a:pt x="904920" y="671765"/>
                    <a:pt x="1090148" y="861636"/>
                  </a:cubicBezTo>
                  <a:cubicBezTo>
                    <a:pt x="1274988" y="1051826"/>
                    <a:pt x="1489604" y="1224328"/>
                    <a:pt x="1743793" y="1299782"/>
                  </a:cubicBezTo>
                  <a:cubicBezTo>
                    <a:pt x="1927215" y="1354361"/>
                    <a:pt x="2125848" y="1354919"/>
                    <a:pt x="2309915" y="1302172"/>
                  </a:cubicBezTo>
                  <a:cubicBezTo>
                    <a:pt x="2373398" y="1283727"/>
                    <a:pt x="2436397" y="1257852"/>
                    <a:pt x="2492887" y="1222873"/>
                  </a:cubicBezTo>
                  <a:lnTo>
                    <a:pt x="2544422" y="1184105"/>
                  </a:lnTo>
                  <a:lnTo>
                    <a:pt x="2526820" y="1204313"/>
                  </a:lnTo>
                  <a:cubicBezTo>
                    <a:pt x="2454110" y="1271063"/>
                    <a:pt x="2359973" y="1315448"/>
                    <a:pt x="2264749" y="1343116"/>
                  </a:cubicBezTo>
                  <a:cubicBezTo>
                    <a:pt x="2080682" y="1395863"/>
                    <a:pt x="1882049" y="1395305"/>
                    <a:pt x="1698627" y="1340726"/>
                  </a:cubicBezTo>
                  <a:cubicBezTo>
                    <a:pt x="1444438" y="1265272"/>
                    <a:pt x="1229822" y="1092770"/>
                    <a:pt x="1044982" y="902580"/>
                  </a:cubicBezTo>
                  <a:cubicBezTo>
                    <a:pt x="859754" y="712709"/>
                    <a:pt x="696955" y="501325"/>
                    <a:pt x="502963" y="320219"/>
                  </a:cubicBezTo>
                  <a:cubicBezTo>
                    <a:pt x="365299" y="191699"/>
                    <a:pt x="180200" y="72581"/>
                    <a:pt x="0" y="127399"/>
                  </a:cubicBezTo>
                  <a:cubicBezTo>
                    <a:pt x="33965" y="81107"/>
                    <a:pt x="73408" y="40013"/>
                    <a:pt x="116964" y="3602"/>
                  </a:cubicBezTo>
                  <a:close/>
                </a:path>
              </a:pathLst>
            </a:custGeom>
            <a:solidFill>
              <a:schemeClr val="tx1">
                <a:alpha val="30000"/>
              </a:schemeClr>
            </a:solidFill>
            <a:ln w="12700">
              <a:miter lim="400000"/>
            </a:ln>
          </p:spPr>
          <p:txBody>
            <a:bodyPr wrap="square" lIns="28575" tIns="28575" rIns="28575" bIns="28575" anchor="ctr">
              <a:noAutofit/>
            </a:bodyPr>
            <a:lstStyle/>
            <a:p>
              <a:pPr algn="ctr"/>
              <a:endParaRPr sz="2100" dirty="0">
                <a:solidFill>
                  <a:srgbClr val="FFFFFF"/>
                </a:solidFill>
              </a:endParaRPr>
            </a:p>
          </p:txBody>
        </p:sp>
      </p:grpSp>
      <p:grpSp>
        <p:nvGrpSpPr>
          <p:cNvPr id="109" name="Group 108">
            <a:extLst>
              <a:ext uri="{FF2B5EF4-FFF2-40B4-BE49-F238E27FC236}">
                <a16:creationId xmlns:a16="http://schemas.microsoft.com/office/drawing/2014/main" id="{7B06E261-FEE4-4DCB-BA99-BD883ED01B60}"/>
              </a:ext>
            </a:extLst>
          </p:cNvPr>
          <p:cNvGrpSpPr/>
          <p:nvPr/>
        </p:nvGrpSpPr>
        <p:grpSpPr>
          <a:xfrm>
            <a:off x="2154248" y="1612518"/>
            <a:ext cx="436553" cy="514599"/>
            <a:chOff x="4257113" y="1543808"/>
            <a:chExt cx="1560451" cy="2554451"/>
          </a:xfrm>
        </p:grpSpPr>
        <p:sp>
          <p:nvSpPr>
            <p:cNvPr id="110" name="Shape">
              <a:extLst>
                <a:ext uri="{FF2B5EF4-FFF2-40B4-BE49-F238E27FC236}">
                  <a16:creationId xmlns:a16="http://schemas.microsoft.com/office/drawing/2014/main" id="{68C5DAFA-5D38-40CA-B57B-318EBB4B3045}"/>
                </a:ext>
              </a:extLst>
            </p:cNvPr>
            <p:cNvSpPr/>
            <p:nvPr/>
          </p:nvSpPr>
          <p:spPr>
            <a:xfrm>
              <a:off x="4257113" y="1543808"/>
              <a:ext cx="1560451" cy="2554354"/>
            </a:xfrm>
            <a:custGeom>
              <a:avLst/>
              <a:gdLst/>
              <a:ahLst/>
              <a:cxnLst>
                <a:cxn ang="0">
                  <a:pos x="wd2" y="hd2"/>
                </a:cxn>
                <a:cxn ang="5400000">
                  <a:pos x="wd2" y="hd2"/>
                </a:cxn>
                <a:cxn ang="10800000">
                  <a:pos x="wd2" y="hd2"/>
                </a:cxn>
                <a:cxn ang="16200000">
                  <a:pos x="wd2" y="hd2"/>
                </a:cxn>
              </a:cxnLst>
              <a:rect l="0" t="0" r="r" b="b"/>
              <a:pathLst>
                <a:path w="21528" h="21228" extrusionOk="0">
                  <a:moveTo>
                    <a:pt x="3043" y="4151"/>
                  </a:moveTo>
                  <a:cubicBezTo>
                    <a:pt x="3177" y="6354"/>
                    <a:pt x="2713" y="8555"/>
                    <a:pt x="2673" y="10758"/>
                  </a:cubicBezTo>
                  <a:cubicBezTo>
                    <a:pt x="2632" y="12963"/>
                    <a:pt x="3051" y="15234"/>
                    <a:pt x="4800" y="17170"/>
                  </a:cubicBezTo>
                  <a:cubicBezTo>
                    <a:pt x="6065" y="18564"/>
                    <a:pt x="8001" y="19736"/>
                    <a:pt x="10312" y="20503"/>
                  </a:cubicBezTo>
                  <a:cubicBezTo>
                    <a:pt x="11919" y="21034"/>
                    <a:pt x="13790" y="21375"/>
                    <a:pt x="15588" y="21167"/>
                  </a:cubicBezTo>
                  <a:cubicBezTo>
                    <a:pt x="20221" y="20630"/>
                    <a:pt x="21299" y="17447"/>
                    <a:pt x="21502" y="15051"/>
                  </a:cubicBezTo>
                  <a:cubicBezTo>
                    <a:pt x="21600" y="13870"/>
                    <a:pt x="21421" y="12691"/>
                    <a:pt x="20998" y="11542"/>
                  </a:cubicBezTo>
                  <a:cubicBezTo>
                    <a:pt x="19485" y="7430"/>
                    <a:pt x="14880" y="3681"/>
                    <a:pt x="9002" y="1488"/>
                  </a:cubicBezTo>
                  <a:cubicBezTo>
                    <a:pt x="6309" y="483"/>
                    <a:pt x="3128" y="-225"/>
                    <a:pt x="0" y="67"/>
                  </a:cubicBezTo>
                  <a:cubicBezTo>
                    <a:pt x="2298" y="802"/>
                    <a:pt x="2949" y="2588"/>
                    <a:pt x="3043" y="4151"/>
                  </a:cubicBezTo>
                  <a:close/>
                </a:path>
              </a:pathLst>
            </a:custGeom>
            <a:solidFill>
              <a:srgbClr val="9CCD50"/>
            </a:solidFill>
            <a:ln w="12700">
              <a:miter lim="400000"/>
            </a:ln>
          </p:spPr>
          <p:txBody>
            <a:bodyPr lIns="28575" tIns="28575" rIns="28575" bIns="28575" anchor="ctr"/>
            <a:lstStyle/>
            <a:p>
              <a:pPr algn="ctr">
                <a:defRPr sz="3000">
                  <a:solidFill>
                    <a:srgbClr val="FFFFFF"/>
                  </a:solidFill>
                </a:defRPr>
              </a:pPr>
              <a:endParaRPr sz="900">
                <a:solidFill>
                  <a:schemeClr val="bg1"/>
                </a:solidFill>
              </a:endParaRPr>
            </a:p>
          </p:txBody>
        </p:sp>
        <p:sp>
          <p:nvSpPr>
            <p:cNvPr id="111" name="Freeform: Shape 110">
              <a:extLst>
                <a:ext uri="{FF2B5EF4-FFF2-40B4-BE49-F238E27FC236}">
                  <a16:creationId xmlns:a16="http://schemas.microsoft.com/office/drawing/2014/main" id="{D51B1B3A-4A2E-4C21-995A-18F149DA0B53}"/>
                </a:ext>
              </a:extLst>
            </p:cNvPr>
            <p:cNvSpPr/>
            <p:nvPr/>
          </p:nvSpPr>
          <p:spPr>
            <a:xfrm>
              <a:off x="4257113" y="1548839"/>
              <a:ext cx="1358028" cy="2549420"/>
            </a:xfrm>
            <a:custGeom>
              <a:avLst/>
              <a:gdLst>
                <a:gd name="connsiteX0" fmla="*/ 100892 w 1358028"/>
                <a:gd name="connsiteY0" fmla="*/ 0 h 2549420"/>
                <a:gd name="connsiteX1" fmla="*/ 102188 w 1358028"/>
                <a:gd name="connsiteY1" fmla="*/ 882 h 2549420"/>
                <a:gd name="connsiteX2" fmla="*/ 265737 w 1358028"/>
                <a:gd name="connsiteY2" fmla="*/ 453513 h 2549420"/>
                <a:gd name="connsiteX3" fmla="*/ 238918 w 1358028"/>
                <a:gd name="connsiteY3" fmla="*/ 1248530 h 2549420"/>
                <a:gd name="connsiteX4" fmla="*/ 393093 w 1358028"/>
                <a:gd name="connsiteY4" fmla="*/ 2020082 h 2549420"/>
                <a:gd name="connsiteX5" fmla="*/ 792629 w 1358028"/>
                <a:gd name="connsiteY5" fmla="*/ 2421140 h 2549420"/>
                <a:gd name="connsiteX6" fmla="*/ 1175058 w 1358028"/>
                <a:gd name="connsiteY6" fmla="*/ 2501039 h 2549420"/>
                <a:gd name="connsiteX7" fmla="*/ 1289292 w 1358028"/>
                <a:gd name="connsiteY7" fmla="*/ 2462690 h 2549420"/>
                <a:gd name="connsiteX8" fmla="*/ 1358028 w 1358028"/>
                <a:gd name="connsiteY8" fmla="*/ 2415534 h 2549420"/>
                <a:gd name="connsiteX9" fmla="*/ 1336478 w 1358028"/>
                <a:gd name="connsiteY9" fmla="*/ 2440276 h 2549420"/>
                <a:gd name="connsiteX10" fmla="*/ 1129892 w 1358028"/>
                <a:gd name="connsiteY10" fmla="*/ 2541983 h 2549420"/>
                <a:gd name="connsiteX11" fmla="*/ 747463 w 1358028"/>
                <a:gd name="connsiteY11" fmla="*/ 2462084 h 2549420"/>
                <a:gd name="connsiteX12" fmla="*/ 347927 w 1358028"/>
                <a:gd name="connsiteY12" fmla="*/ 2061026 h 2549420"/>
                <a:gd name="connsiteX13" fmla="*/ 193752 w 1358028"/>
                <a:gd name="connsiteY13" fmla="*/ 1289474 h 2549420"/>
                <a:gd name="connsiteX14" fmla="*/ 220571 w 1358028"/>
                <a:gd name="connsiteY14" fmla="*/ 494457 h 2549420"/>
                <a:gd name="connsiteX15" fmla="*/ 0 w 1358028"/>
                <a:gd name="connsiteY15" fmla="*/ 3031 h 254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8028" h="2549420">
                  <a:moveTo>
                    <a:pt x="100892" y="0"/>
                  </a:moveTo>
                  <a:lnTo>
                    <a:pt x="102188" y="882"/>
                  </a:lnTo>
                  <a:cubicBezTo>
                    <a:pt x="222902" y="103837"/>
                    <a:pt x="259775" y="288947"/>
                    <a:pt x="265737" y="453513"/>
                  </a:cubicBezTo>
                  <a:cubicBezTo>
                    <a:pt x="275450" y="718599"/>
                    <a:pt x="241817" y="983444"/>
                    <a:pt x="238918" y="1248530"/>
                  </a:cubicBezTo>
                  <a:cubicBezTo>
                    <a:pt x="235946" y="1513856"/>
                    <a:pt x="266317" y="1787124"/>
                    <a:pt x="393093" y="2020082"/>
                  </a:cubicBezTo>
                  <a:cubicBezTo>
                    <a:pt x="484786" y="2187821"/>
                    <a:pt x="625116" y="2328848"/>
                    <a:pt x="792629" y="2421140"/>
                  </a:cubicBezTo>
                  <a:cubicBezTo>
                    <a:pt x="909112" y="2485035"/>
                    <a:pt x="1044730" y="2526068"/>
                    <a:pt x="1175058" y="2501039"/>
                  </a:cubicBezTo>
                  <a:cubicBezTo>
                    <a:pt x="1217036" y="2492962"/>
                    <a:pt x="1254987" y="2479910"/>
                    <a:pt x="1289292" y="2462690"/>
                  </a:cubicBezTo>
                  <a:lnTo>
                    <a:pt x="1358028" y="2415534"/>
                  </a:lnTo>
                  <a:lnTo>
                    <a:pt x="1336478" y="2440276"/>
                  </a:lnTo>
                  <a:cubicBezTo>
                    <a:pt x="1281698" y="2489775"/>
                    <a:pt x="1213848" y="2525829"/>
                    <a:pt x="1129892" y="2541983"/>
                  </a:cubicBezTo>
                  <a:cubicBezTo>
                    <a:pt x="999564" y="2567012"/>
                    <a:pt x="863946" y="2525979"/>
                    <a:pt x="747463" y="2462084"/>
                  </a:cubicBezTo>
                  <a:cubicBezTo>
                    <a:pt x="579950" y="2369792"/>
                    <a:pt x="439620" y="2228765"/>
                    <a:pt x="347927" y="2061026"/>
                  </a:cubicBezTo>
                  <a:cubicBezTo>
                    <a:pt x="221151" y="1828068"/>
                    <a:pt x="190780" y="1554800"/>
                    <a:pt x="193752" y="1289474"/>
                  </a:cubicBezTo>
                  <a:cubicBezTo>
                    <a:pt x="196651" y="1024388"/>
                    <a:pt x="230284" y="759543"/>
                    <a:pt x="220571" y="494457"/>
                  </a:cubicBezTo>
                  <a:cubicBezTo>
                    <a:pt x="213758" y="306382"/>
                    <a:pt x="166570" y="91473"/>
                    <a:pt x="0" y="3031"/>
                  </a:cubicBezTo>
                  <a:close/>
                </a:path>
              </a:pathLst>
            </a:custGeom>
            <a:solidFill>
              <a:schemeClr val="tx1">
                <a:alpha val="30000"/>
              </a:schemeClr>
            </a:solidFill>
            <a:ln w="12700">
              <a:miter lim="400000"/>
            </a:ln>
          </p:spPr>
          <p:txBody>
            <a:bodyPr wrap="square" lIns="28575" tIns="28575" rIns="28575" bIns="28575" anchor="ctr">
              <a:noAutofit/>
            </a:bodyPr>
            <a:lstStyle/>
            <a:p>
              <a:pPr algn="ctr"/>
              <a:endParaRPr sz="2100">
                <a:solidFill>
                  <a:srgbClr val="FFFFFF"/>
                </a:solidFill>
              </a:endParaRPr>
            </a:p>
          </p:txBody>
        </p:sp>
      </p:grpSp>
      <p:grpSp>
        <p:nvGrpSpPr>
          <p:cNvPr id="112" name="Group 111">
            <a:extLst>
              <a:ext uri="{FF2B5EF4-FFF2-40B4-BE49-F238E27FC236}">
                <a16:creationId xmlns:a16="http://schemas.microsoft.com/office/drawing/2014/main" id="{C50338A4-ACB2-4341-A5EE-B0409EFC2617}"/>
              </a:ext>
            </a:extLst>
          </p:cNvPr>
          <p:cNvGrpSpPr/>
          <p:nvPr/>
        </p:nvGrpSpPr>
        <p:grpSpPr>
          <a:xfrm>
            <a:off x="9144000" y="1447800"/>
            <a:ext cx="382406" cy="516336"/>
            <a:chOff x="5908256" y="1337417"/>
            <a:chExt cx="1494027" cy="2766286"/>
          </a:xfrm>
        </p:grpSpPr>
        <p:sp>
          <p:nvSpPr>
            <p:cNvPr id="113" name="Shape">
              <a:extLst>
                <a:ext uri="{FF2B5EF4-FFF2-40B4-BE49-F238E27FC236}">
                  <a16:creationId xmlns:a16="http://schemas.microsoft.com/office/drawing/2014/main" id="{510632E6-189A-4154-83CC-1C294411AA20}"/>
                </a:ext>
              </a:extLst>
            </p:cNvPr>
            <p:cNvSpPr/>
            <p:nvPr/>
          </p:nvSpPr>
          <p:spPr>
            <a:xfrm>
              <a:off x="5908256" y="1337417"/>
              <a:ext cx="1494027" cy="2766278"/>
            </a:xfrm>
            <a:custGeom>
              <a:avLst/>
              <a:gdLst/>
              <a:ahLst/>
              <a:cxnLst>
                <a:cxn ang="0">
                  <a:pos x="wd2" y="hd2"/>
                </a:cxn>
                <a:cxn ang="5400000">
                  <a:pos x="wd2" y="hd2"/>
                </a:cxn>
                <a:cxn ang="10800000">
                  <a:pos x="wd2" y="hd2"/>
                </a:cxn>
                <a:cxn ang="16200000">
                  <a:pos x="wd2" y="hd2"/>
                </a:cxn>
              </a:cxnLst>
              <a:rect l="0" t="0" r="r" b="b"/>
              <a:pathLst>
                <a:path w="20616" h="20838" extrusionOk="0">
                  <a:moveTo>
                    <a:pt x="4446" y="8775"/>
                  </a:moveTo>
                  <a:cubicBezTo>
                    <a:pt x="2314" y="10399"/>
                    <a:pt x="492" y="12218"/>
                    <a:pt x="85" y="14204"/>
                  </a:cubicBezTo>
                  <a:cubicBezTo>
                    <a:pt x="-208" y="15636"/>
                    <a:pt x="264" y="17111"/>
                    <a:pt x="1432" y="18404"/>
                  </a:cubicBezTo>
                  <a:cubicBezTo>
                    <a:pt x="2241" y="19301"/>
                    <a:pt x="3450" y="20141"/>
                    <a:pt x="5122" y="20549"/>
                  </a:cubicBezTo>
                  <a:cubicBezTo>
                    <a:pt x="9430" y="21600"/>
                    <a:pt x="13344" y="19574"/>
                    <a:pt x="15790" y="17857"/>
                  </a:cubicBezTo>
                  <a:cubicBezTo>
                    <a:pt x="16994" y="17011"/>
                    <a:pt x="17966" y="16081"/>
                    <a:pt x="18715" y="15094"/>
                  </a:cubicBezTo>
                  <a:cubicBezTo>
                    <a:pt x="21392" y="11565"/>
                    <a:pt x="21184" y="7343"/>
                    <a:pt x="18454" y="3874"/>
                  </a:cubicBezTo>
                  <a:cubicBezTo>
                    <a:pt x="17201" y="2283"/>
                    <a:pt x="15273" y="762"/>
                    <a:pt x="12429" y="0"/>
                  </a:cubicBezTo>
                  <a:cubicBezTo>
                    <a:pt x="13613" y="1264"/>
                    <a:pt x="12445" y="2794"/>
                    <a:pt x="11033" y="3985"/>
                  </a:cubicBezTo>
                  <a:cubicBezTo>
                    <a:pt x="9052" y="5664"/>
                    <a:pt x="6578" y="7152"/>
                    <a:pt x="4446" y="8775"/>
                  </a:cubicBezTo>
                  <a:close/>
                </a:path>
              </a:pathLst>
            </a:custGeom>
            <a:solidFill>
              <a:srgbClr val="42BE5C"/>
            </a:solidFill>
            <a:ln w="12700">
              <a:miter lim="400000"/>
            </a:ln>
          </p:spPr>
          <p:txBody>
            <a:bodyPr lIns="28575" tIns="28575" rIns="28575" bIns="28575" anchor="ctr"/>
            <a:lstStyle/>
            <a:p>
              <a:pPr algn="ctr">
                <a:defRPr sz="3000">
                  <a:solidFill>
                    <a:srgbClr val="FFFFFF"/>
                  </a:solidFill>
                </a:defRPr>
              </a:pPr>
              <a:endParaRPr sz="900">
                <a:solidFill>
                  <a:schemeClr val="bg1"/>
                </a:solidFill>
              </a:endParaRPr>
            </a:p>
          </p:txBody>
        </p:sp>
        <p:sp>
          <p:nvSpPr>
            <p:cNvPr id="114" name="Freeform: Shape 113">
              <a:extLst>
                <a:ext uri="{FF2B5EF4-FFF2-40B4-BE49-F238E27FC236}">
                  <a16:creationId xmlns:a16="http://schemas.microsoft.com/office/drawing/2014/main" id="{571DBF1C-7474-47E8-AB72-A3C8130F5220}"/>
                </a:ext>
              </a:extLst>
            </p:cNvPr>
            <p:cNvSpPr/>
            <p:nvPr/>
          </p:nvSpPr>
          <p:spPr>
            <a:xfrm>
              <a:off x="5908280" y="1337417"/>
              <a:ext cx="998000" cy="2766286"/>
            </a:xfrm>
            <a:custGeom>
              <a:avLst/>
              <a:gdLst>
                <a:gd name="connsiteX0" fmla="*/ 900697 w 998000"/>
                <a:gd name="connsiteY0" fmla="*/ 0 h 2766286"/>
                <a:gd name="connsiteX1" fmla="*/ 974150 w 998000"/>
                <a:gd name="connsiteY1" fmla="*/ 48141 h 2766286"/>
                <a:gd name="connsiteX2" fmla="*/ 980644 w 998000"/>
                <a:gd name="connsiteY2" fmla="*/ 90271 h 2766286"/>
                <a:gd name="connsiteX3" fmla="*/ 844696 w 998000"/>
                <a:gd name="connsiteY3" fmla="*/ 488071 h 2766286"/>
                <a:gd name="connsiteX4" fmla="*/ 367341 w 998000"/>
                <a:gd name="connsiteY4" fmla="*/ 1123952 h 2766286"/>
                <a:gd name="connsiteX5" fmla="*/ 51302 w 998000"/>
                <a:gd name="connsiteY5" fmla="*/ 1844660 h 2766286"/>
                <a:gd name="connsiteX6" fmla="*/ 148918 w 998000"/>
                <a:gd name="connsiteY6" fmla="*/ 2402217 h 2766286"/>
                <a:gd name="connsiteX7" fmla="*/ 416330 w 998000"/>
                <a:gd name="connsiteY7" fmla="*/ 2686969 h 2766286"/>
                <a:gd name="connsiteX8" fmla="*/ 949238 w 998000"/>
                <a:gd name="connsiteY8" fmla="*/ 2579629 h 2766286"/>
                <a:gd name="connsiteX9" fmla="*/ 998000 w 998000"/>
                <a:gd name="connsiteY9" fmla="*/ 2536436 h 2766286"/>
                <a:gd name="connsiteX10" fmla="*/ 992590 w 998000"/>
                <a:gd name="connsiteY10" fmla="*/ 2542164 h 2766286"/>
                <a:gd name="connsiteX11" fmla="*/ 371164 w 998000"/>
                <a:gd name="connsiteY11" fmla="*/ 2727913 h 2766286"/>
                <a:gd name="connsiteX12" fmla="*/ 103752 w 998000"/>
                <a:gd name="connsiteY12" fmla="*/ 2443161 h 2766286"/>
                <a:gd name="connsiteX13" fmla="*/ 6136 w 998000"/>
                <a:gd name="connsiteY13" fmla="*/ 1885604 h 2766286"/>
                <a:gd name="connsiteX14" fmla="*/ 322175 w 998000"/>
                <a:gd name="connsiteY14" fmla="*/ 1164896 h 2766286"/>
                <a:gd name="connsiteX15" fmla="*/ 799530 w 998000"/>
                <a:gd name="connsiteY15" fmla="*/ 529015 h 2766286"/>
                <a:gd name="connsiteX16" fmla="*/ 900697 w 998000"/>
                <a:gd name="connsiteY16" fmla="*/ 0 h 276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000" h="2766286">
                  <a:moveTo>
                    <a:pt x="900697" y="0"/>
                  </a:moveTo>
                  <a:lnTo>
                    <a:pt x="974150" y="48141"/>
                  </a:lnTo>
                  <a:lnTo>
                    <a:pt x="980644" y="90271"/>
                  </a:lnTo>
                  <a:cubicBezTo>
                    <a:pt x="988240" y="225596"/>
                    <a:pt x="921441" y="369491"/>
                    <a:pt x="844696" y="488071"/>
                  </a:cubicBezTo>
                  <a:cubicBezTo>
                    <a:pt x="701134" y="710961"/>
                    <a:pt x="521845" y="908496"/>
                    <a:pt x="367341" y="1123952"/>
                  </a:cubicBezTo>
                  <a:cubicBezTo>
                    <a:pt x="212836" y="1339540"/>
                    <a:pt x="80797" y="1581015"/>
                    <a:pt x="51302" y="1844660"/>
                  </a:cubicBezTo>
                  <a:cubicBezTo>
                    <a:pt x="30069" y="2034760"/>
                    <a:pt x="64274" y="2230569"/>
                    <a:pt x="148918" y="2402217"/>
                  </a:cubicBezTo>
                  <a:cubicBezTo>
                    <a:pt x="207546" y="2521295"/>
                    <a:pt x="295161" y="2632806"/>
                    <a:pt x="416330" y="2686969"/>
                  </a:cubicBezTo>
                  <a:cubicBezTo>
                    <a:pt x="611454" y="2774170"/>
                    <a:pt x="795424" y="2701810"/>
                    <a:pt x="949238" y="2579629"/>
                  </a:cubicBezTo>
                  <a:lnTo>
                    <a:pt x="998000" y="2536436"/>
                  </a:lnTo>
                  <a:lnTo>
                    <a:pt x="992590" y="2542164"/>
                  </a:lnTo>
                  <a:cubicBezTo>
                    <a:pt x="823400" y="2707428"/>
                    <a:pt x="605312" y="2832555"/>
                    <a:pt x="371164" y="2727913"/>
                  </a:cubicBezTo>
                  <a:cubicBezTo>
                    <a:pt x="249995" y="2673750"/>
                    <a:pt x="162380" y="2562239"/>
                    <a:pt x="103752" y="2443161"/>
                  </a:cubicBezTo>
                  <a:cubicBezTo>
                    <a:pt x="19108" y="2271513"/>
                    <a:pt x="-15098" y="2075704"/>
                    <a:pt x="6136" y="1885604"/>
                  </a:cubicBezTo>
                  <a:cubicBezTo>
                    <a:pt x="35631" y="1621959"/>
                    <a:pt x="167670" y="1380484"/>
                    <a:pt x="322175" y="1164896"/>
                  </a:cubicBezTo>
                  <a:cubicBezTo>
                    <a:pt x="476679" y="949440"/>
                    <a:pt x="655968" y="751905"/>
                    <a:pt x="799530" y="529015"/>
                  </a:cubicBezTo>
                  <a:cubicBezTo>
                    <a:pt x="901857" y="370908"/>
                    <a:pt x="986501" y="167798"/>
                    <a:pt x="900697" y="0"/>
                  </a:cubicBezTo>
                  <a:close/>
                </a:path>
              </a:pathLst>
            </a:custGeom>
            <a:solidFill>
              <a:schemeClr val="tx1">
                <a:alpha val="30000"/>
              </a:schemeClr>
            </a:solidFill>
            <a:ln w="12700">
              <a:miter lim="400000"/>
            </a:ln>
          </p:spPr>
          <p:txBody>
            <a:bodyPr wrap="square" lIns="28575" tIns="28575" rIns="28575" bIns="28575" anchor="ctr">
              <a:noAutofit/>
            </a:bodyPr>
            <a:lstStyle/>
            <a:p>
              <a:pPr algn="ctr"/>
              <a:endParaRPr sz="2100">
                <a:solidFill>
                  <a:srgbClr val="FFFFFF"/>
                </a:solidFill>
              </a:endParaRPr>
            </a:p>
          </p:txBody>
        </p:sp>
      </p:grpSp>
      <p:grpSp>
        <p:nvGrpSpPr>
          <p:cNvPr id="115" name="Group 114">
            <a:extLst>
              <a:ext uri="{FF2B5EF4-FFF2-40B4-BE49-F238E27FC236}">
                <a16:creationId xmlns:a16="http://schemas.microsoft.com/office/drawing/2014/main" id="{E68C5637-72DD-478D-9BCC-05CD6721CE1C}"/>
              </a:ext>
            </a:extLst>
          </p:cNvPr>
          <p:cNvGrpSpPr/>
          <p:nvPr/>
        </p:nvGrpSpPr>
        <p:grpSpPr>
          <a:xfrm>
            <a:off x="9568726" y="4188771"/>
            <a:ext cx="404144" cy="432590"/>
            <a:chOff x="7235072" y="2162990"/>
            <a:chExt cx="2087058" cy="2233954"/>
          </a:xfrm>
        </p:grpSpPr>
        <p:sp>
          <p:nvSpPr>
            <p:cNvPr id="116" name="Shape">
              <a:extLst>
                <a:ext uri="{FF2B5EF4-FFF2-40B4-BE49-F238E27FC236}">
                  <a16:creationId xmlns:a16="http://schemas.microsoft.com/office/drawing/2014/main" id="{F7185E60-E666-45ED-B57E-B187C30A0F22}"/>
                </a:ext>
              </a:extLst>
            </p:cNvPr>
            <p:cNvSpPr/>
            <p:nvPr/>
          </p:nvSpPr>
          <p:spPr>
            <a:xfrm>
              <a:off x="7235072" y="2162990"/>
              <a:ext cx="2087058" cy="2233936"/>
            </a:xfrm>
            <a:custGeom>
              <a:avLst/>
              <a:gdLst/>
              <a:ahLst/>
              <a:cxnLst>
                <a:cxn ang="0">
                  <a:pos x="wd2" y="hd2"/>
                </a:cxn>
                <a:cxn ang="5400000">
                  <a:pos x="wd2" y="hd2"/>
                </a:cxn>
                <a:cxn ang="10800000">
                  <a:pos x="wd2" y="hd2"/>
                </a:cxn>
                <a:cxn ang="16200000">
                  <a:pos x="wd2" y="hd2"/>
                </a:cxn>
              </a:cxnLst>
              <a:rect l="0" t="0" r="r" b="b"/>
              <a:pathLst>
                <a:path w="21330" h="20789" extrusionOk="0">
                  <a:moveTo>
                    <a:pt x="20142" y="0"/>
                  </a:moveTo>
                  <a:cubicBezTo>
                    <a:pt x="19982" y="1745"/>
                    <a:pt x="18150" y="2936"/>
                    <a:pt x="16411" y="3685"/>
                  </a:cubicBezTo>
                  <a:cubicBezTo>
                    <a:pt x="13958" y="4739"/>
                    <a:pt x="11337" y="5419"/>
                    <a:pt x="8833" y="6366"/>
                  </a:cubicBezTo>
                  <a:cubicBezTo>
                    <a:pt x="6329" y="7312"/>
                    <a:pt x="3879" y="8572"/>
                    <a:pt x="2203" y="10509"/>
                  </a:cubicBezTo>
                  <a:cubicBezTo>
                    <a:pt x="992" y="11906"/>
                    <a:pt x="232" y="13623"/>
                    <a:pt x="43" y="15396"/>
                  </a:cubicBezTo>
                  <a:cubicBezTo>
                    <a:pt x="-90" y="16628"/>
                    <a:pt x="67" y="17937"/>
                    <a:pt x="829" y="18963"/>
                  </a:cubicBezTo>
                  <a:cubicBezTo>
                    <a:pt x="2785" y="21600"/>
                    <a:pt x="6699" y="20867"/>
                    <a:pt x="9468" y="19937"/>
                  </a:cubicBezTo>
                  <a:cubicBezTo>
                    <a:pt x="10834" y="19479"/>
                    <a:pt x="12111" y="18848"/>
                    <a:pt x="13289" y="18080"/>
                  </a:cubicBezTo>
                  <a:cubicBezTo>
                    <a:pt x="17499" y="15330"/>
                    <a:pt x="20395" y="10825"/>
                    <a:pt x="21163" y="6212"/>
                  </a:cubicBezTo>
                  <a:cubicBezTo>
                    <a:pt x="21510" y="4097"/>
                    <a:pt x="21383" y="1814"/>
                    <a:pt x="20142" y="0"/>
                  </a:cubicBezTo>
                  <a:close/>
                </a:path>
              </a:pathLst>
            </a:custGeom>
            <a:solidFill>
              <a:srgbClr val="00A057"/>
            </a:solidFill>
            <a:ln w="12700">
              <a:miter lim="400000"/>
            </a:ln>
          </p:spPr>
          <p:txBody>
            <a:bodyPr lIns="28575" tIns="28575" rIns="28575" bIns="28575" anchor="ctr"/>
            <a:lstStyle/>
            <a:p>
              <a:pPr algn="ctr">
                <a:defRPr sz="3000">
                  <a:solidFill>
                    <a:srgbClr val="FFFFFF"/>
                  </a:solidFill>
                </a:defRPr>
              </a:pPr>
              <a:endParaRPr sz="900">
                <a:solidFill>
                  <a:schemeClr val="bg1"/>
                </a:solidFill>
              </a:endParaRPr>
            </a:p>
          </p:txBody>
        </p:sp>
        <p:sp>
          <p:nvSpPr>
            <p:cNvPr id="117" name="Freeform: Shape 116">
              <a:extLst>
                <a:ext uri="{FF2B5EF4-FFF2-40B4-BE49-F238E27FC236}">
                  <a16:creationId xmlns:a16="http://schemas.microsoft.com/office/drawing/2014/main" id="{8F7CAFB9-CCC7-4A53-8BB5-7C13A8A5173F}"/>
                </a:ext>
              </a:extLst>
            </p:cNvPr>
            <p:cNvSpPr/>
            <p:nvPr/>
          </p:nvSpPr>
          <p:spPr>
            <a:xfrm>
              <a:off x="7235120" y="2162990"/>
              <a:ext cx="1994931" cy="2233954"/>
            </a:xfrm>
            <a:custGeom>
              <a:avLst/>
              <a:gdLst>
                <a:gd name="connsiteX0" fmla="*/ 373790 w 1994931"/>
                <a:gd name="connsiteY0" fmla="*/ 969405 h 2233954"/>
                <a:gd name="connsiteX1" fmla="*/ 260674 w 1994931"/>
                <a:gd name="connsiteY1" fmla="*/ 1088328 h 2233954"/>
                <a:gd name="connsiteX2" fmla="*/ 49327 w 1994931"/>
                <a:gd name="connsiteY2" fmla="*/ 1613473 h 2233954"/>
                <a:gd name="connsiteX3" fmla="*/ 126234 w 1994931"/>
                <a:gd name="connsiteY3" fmla="*/ 1996775 h 2233954"/>
                <a:gd name="connsiteX4" fmla="*/ 971526 w 1994931"/>
                <a:gd name="connsiteY4" fmla="*/ 2101438 h 2233954"/>
                <a:gd name="connsiteX5" fmla="*/ 1345396 w 1994931"/>
                <a:gd name="connsiteY5" fmla="*/ 1901890 h 2233954"/>
                <a:gd name="connsiteX6" fmla="*/ 1472438 w 1994931"/>
                <a:gd name="connsiteY6" fmla="*/ 1799677 h 2233954"/>
                <a:gd name="connsiteX7" fmla="*/ 1448523 w 1994931"/>
                <a:gd name="connsiteY7" fmla="*/ 1823524 h 2233954"/>
                <a:gd name="connsiteX8" fmla="*/ 1300230 w 1994931"/>
                <a:gd name="connsiteY8" fmla="*/ 1942834 h 2233954"/>
                <a:gd name="connsiteX9" fmla="*/ 926360 w 1994931"/>
                <a:gd name="connsiteY9" fmla="*/ 2142382 h 2233954"/>
                <a:gd name="connsiteX10" fmla="*/ 81068 w 1994931"/>
                <a:gd name="connsiteY10" fmla="*/ 2037719 h 2233954"/>
                <a:gd name="connsiteX11" fmla="*/ 4161 w 1994931"/>
                <a:gd name="connsiteY11" fmla="*/ 1654417 h 2233954"/>
                <a:gd name="connsiteX12" fmla="*/ 215508 w 1994931"/>
                <a:gd name="connsiteY12" fmla="*/ 1129272 h 2233954"/>
                <a:gd name="connsiteX13" fmla="*/ 351600 w 1994931"/>
                <a:gd name="connsiteY13" fmla="*/ 986194 h 2233954"/>
                <a:gd name="connsiteX14" fmla="*/ 1970770 w 1994931"/>
                <a:gd name="connsiteY14" fmla="*/ 0 h 2233954"/>
                <a:gd name="connsiteX15" fmla="*/ 1994931 w 1994931"/>
                <a:gd name="connsiteY15" fmla="*/ 44884 h 2233954"/>
                <a:gd name="connsiteX16" fmla="*/ 1976218 w 1994931"/>
                <a:gd name="connsiteY16" fmla="*/ 88717 h 2233954"/>
                <a:gd name="connsiteX17" fmla="*/ 1891341 w 1994931"/>
                <a:gd name="connsiteY17" fmla="*/ 197182 h 2233954"/>
                <a:gd name="connsiteX18" fmla="*/ 1864481 w 1994931"/>
                <a:gd name="connsiteY18" fmla="*/ 218038 h 2233954"/>
                <a:gd name="connsiteX19" fmla="*/ 1893246 w 1994931"/>
                <a:gd name="connsiteY19" fmla="*/ 186473 h 2233954"/>
                <a:gd name="connsiteX20" fmla="*/ 1970770 w 1994931"/>
                <a:gd name="connsiteY20" fmla="*/ 0 h 223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94931" h="2233954">
                  <a:moveTo>
                    <a:pt x="373790" y="969405"/>
                  </a:moveTo>
                  <a:lnTo>
                    <a:pt x="260674" y="1088328"/>
                  </a:lnTo>
                  <a:cubicBezTo>
                    <a:pt x="142183" y="1238446"/>
                    <a:pt x="67820" y="1422951"/>
                    <a:pt x="49327" y="1613473"/>
                  </a:cubicBezTo>
                  <a:cubicBezTo>
                    <a:pt x="36313" y="1745861"/>
                    <a:pt x="51675" y="1886523"/>
                    <a:pt x="126234" y="1996775"/>
                  </a:cubicBezTo>
                  <a:cubicBezTo>
                    <a:pt x="317621" y="2280140"/>
                    <a:pt x="700590" y="2201374"/>
                    <a:pt x="971526" y="2101438"/>
                  </a:cubicBezTo>
                  <a:cubicBezTo>
                    <a:pt x="1105184" y="2052223"/>
                    <a:pt x="1230133" y="1984417"/>
                    <a:pt x="1345396" y="1901890"/>
                  </a:cubicBezTo>
                  <a:lnTo>
                    <a:pt x="1472438" y="1799677"/>
                  </a:lnTo>
                  <a:lnTo>
                    <a:pt x="1448523" y="1823524"/>
                  </a:lnTo>
                  <a:cubicBezTo>
                    <a:pt x="1401204" y="1866010"/>
                    <a:pt x="1351722" y="1905895"/>
                    <a:pt x="1300230" y="1942834"/>
                  </a:cubicBezTo>
                  <a:cubicBezTo>
                    <a:pt x="1184967" y="2025361"/>
                    <a:pt x="1060018" y="2093167"/>
                    <a:pt x="926360" y="2142382"/>
                  </a:cubicBezTo>
                  <a:cubicBezTo>
                    <a:pt x="655424" y="2242318"/>
                    <a:pt x="272455" y="2321084"/>
                    <a:pt x="81068" y="2037719"/>
                  </a:cubicBezTo>
                  <a:cubicBezTo>
                    <a:pt x="6509" y="1927467"/>
                    <a:pt x="-8853" y="1786805"/>
                    <a:pt x="4161" y="1654417"/>
                  </a:cubicBezTo>
                  <a:cubicBezTo>
                    <a:pt x="22654" y="1463895"/>
                    <a:pt x="97017" y="1279390"/>
                    <a:pt x="215508" y="1129272"/>
                  </a:cubicBezTo>
                  <a:cubicBezTo>
                    <a:pt x="256506" y="1077236"/>
                    <a:pt x="302237" y="1029746"/>
                    <a:pt x="351600" y="986194"/>
                  </a:cubicBezTo>
                  <a:close/>
                  <a:moveTo>
                    <a:pt x="1970770" y="0"/>
                  </a:moveTo>
                  <a:lnTo>
                    <a:pt x="1994931" y="44884"/>
                  </a:lnTo>
                  <a:lnTo>
                    <a:pt x="1976218" y="88717"/>
                  </a:lnTo>
                  <a:cubicBezTo>
                    <a:pt x="1954552" y="128342"/>
                    <a:pt x="1925361" y="164434"/>
                    <a:pt x="1891341" y="197182"/>
                  </a:cubicBezTo>
                  <a:lnTo>
                    <a:pt x="1864481" y="218038"/>
                  </a:lnTo>
                  <a:lnTo>
                    <a:pt x="1893246" y="186473"/>
                  </a:lnTo>
                  <a:cubicBezTo>
                    <a:pt x="1936022" y="132264"/>
                    <a:pt x="1964899" y="70318"/>
                    <a:pt x="1970770" y="0"/>
                  </a:cubicBezTo>
                  <a:close/>
                </a:path>
              </a:pathLst>
            </a:custGeom>
            <a:solidFill>
              <a:schemeClr val="tx1">
                <a:alpha val="30000"/>
              </a:schemeClr>
            </a:solidFill>
            <a:ln w="12700">
              <a:miter lim="400000"/>
            </a:ln>
          </p:spPr>
          <p:txBody>
            <a:bodyPr wrap="square" lIns="28575" tIns="28575" rIns="28575" bIns="28575" anchor="ctr">
              <a:noAutofit/>
            </a:bodyPr>
            <a:lstStyle/>
            <a:p>
              <a:pPr algn="ctr"/>
              <a:endParaRPr sz="2100">
                <a:solidFill>
                  <a:srgbClr val="FFFFFF"/>
                </a:solidFill>
              </a:endParaRPr>
            </a:p>
          </p:txBody>
        </p:sp>
      </p:grpSp>
      <p:sp>
        <p:nvSpPr>
          <p:cNvPr id="6" name="Rectangle 5"/>
          <p:cNvSpPr/>
          <p:nvPr/>
        </p:nvSpPr>
        <p:spPr>
          <a:xfrm>
            <a:off x="5148943" y="6210300"/>
            <a:ext cx="1926770" cy="3429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350" b="1" dirty="0">
                <a:solidFill>
                  <a:srgbClr val="C00000"/>
                </a:solidFill>
              </a:rPr>
              <a:t>Population Enumeration</a:t>
            </a:r>
          </a:p>
        </p:txBody>
      </p:sp>
      <p:pic>
        <p:nvPicPr>
          <p:cNvPr id="8" name="Picture 7"/>
          <p:cNvPicPr>
            <a:picLocks noChangeAspect="1"/>
          </p:cNvPicPr>
          <p:nvPr/>
        </p:nvPicPr>
        <p:blipFill>
          <a:blip r:embed="rId3" cstate="print">
            <a:clrChange>
              <a:clrFrom>
                <a:srgbClr val="F8F8F8"/>
              </a:clrFrom>
              <a:clrTo>
                <a:srgbClr val="F8F8F8">
                  <a:alpha val="0"/>
                </a:srgbClr>
              </a:clrTo>
            </a:clrChange>
            <a:extLst>
              <a:ext uri="{28A0092B-C50C-407E-A947-70E740481C1C}">
                <a14:useLocalDpi xmlns:a14="http://schemas.microsoft.com/office/drawing/2010/main" val="0"/>
              </a:ext>
            </a:extLst>
          </a:blip>
          <a:stretch>
            <a:fillRect/>
          </a:stretch>
        </p:blipFill>
        <p:spPr>
          <a:xfrm>
            <a:off x="4105050" y="3603276"/>
            <a:ext cx="801788" cy="801788"/>
          </a:xfrm>
          <a:prstGeom prst="rect">
            <a:avLst/>
          </a:prstGeom>
        </p:spPr>
      </p:pic>
      <p:pic>
        <p:nvPicPr>
          <p:cNvPr id="9" name="Picture 8"/>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48002" y="2767525"/>
            <a:ext cx="731604" cy="975473"/>
          </a:xfrm>
          <a:prstGeom prst="rect">
            <a:avLst/>
          </a:prstGeom>
        </p:spPr>
      </p:pic>
      <p:pic>
        <p:nvPicPr>
          <p:cNvPr id="10" name="Picture 9"/>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33517" y="3369406"/>
            <a:ext cx="592982" cy="897794"/>
          </a:xfrm>
          <a:prstGeom prst="rect">
            <a:avLst/>
          </a:prstGeom>
        </p:spPr>
      </p:pic>
      <p:pic>
        <p:nvPicPr>
          <p:cNvPr id="11" name="Picture 10"/>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38484" y="2937037"/>
            <a:ext cx="862005" cy="582716"/>
          </a:xfrm>
          <a:prstGeom prst="rect">
            <a:avLst/>
          </a:prstGeom>
        </p:spPr>
      </p:pic>
    </p:spTree>
    <p:extLst>
      <p:ext uri="{BB962C8B-B14F-4D97-AF65-F5344CB8AC3E}">
        <p14:creationId xmlns:p14="http://schemas.microsoft.com/office/powerpoint/2010/main" val="4289148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2055261" y="1594973"/>
            <a:ext cx="2891700" cy="4214700"/>
          </a:xfrm>
          <a:prstGeom prst="rect">
            <a:avLst/>
          </a:prstGeom>
        </p:spPr>
      </p:pic>
      <p:pic>
        <p:nvPicPr>
          <p:cNvPr id="4" name="Picture 3"/>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2055261" y="1594973"/>
            <a:ext cx="2891700" cy="4214700"/>
          </a:xfrm>
          <a:prstGeom prst="rect">
            <a:avLst/>
          </a:prstGeom>
        </p:spPr>
      </p:pic>
      <p:sp>
        <p:nvSpPr>
          <p:cNvPr id="31" name="Title 3"/>
          <p:cNvSpPr txBox="1">
            <a:spLocks/>
          </p:cNvSpPr>
          <p:nvPr/>
        </p:nvSpPr>
        <p:spPr>
          <a:xfrm>
            <a:off x="1524000" y="1033517"/>
            <a:ext cx="914400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lgn="ctr"/>
            <a:r>
              <a:rPr lang="en-US" b="1" dirty="0">
                <a:solidFill>
                  <a:srgbClr val="C00000"/>
                </a:solidFill>
                <a:latin typeface="Cambria" panose="02040503050406030204" pitchFamily="18" charset="0"/>
              </a:rPr>
              <a:t>Comprehensive 7/11 approach for RMNCH+A and beyond </a:t>
            </a:r>
          </a:p>
        </p:txBody>
      </p:sp>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62120" y="2881724"/>
            <a:ext cx="1216998" cy="1001961"/>
          </a:xfrm>
          <a:prstGeom prst="rect">
            <a:avLst/>
          </a:prstGeom>
        </p:spPr>
      </p:pic>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52345" y="4531078"/>
            <a:ext cx="1231007" cy="1013495"/>
          </a:xfrm>
          <a:prstGeom prst="rect">
            <a:avLst/>
          </a:prstGeom>
        </p:spPr>
      </p:pic>
      <p:pic>
        <p:nvPicPr>
          <p:cNvPr id="37" name="Picture 3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83352" y="2866672"/>
            <a:ext cx="1235279" cy="1017012"/>
          </a:xfrm>
          <a:prstGeom prst="rect">
            <a:avLst/>
          </a:prstGeom>
        </p:spPr>
      </p:pic>
      <p:pic>
        <p:nvPicPr>
          <p:cNvPr id="38" name="Picture 3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22862" y="2866673"/>
            <a:ext cx="1230458" cy="1013043"/>
          </a:xfrm>
          <a:prstGeom prst="rect">
            <a:avLst/>
          </a:prstGeom>
        </p:spPr>
      </p:pic>
      <p:sp>
        <p:nvSpPr>
          <p:cNvPr id="6" name="TextBox 5"/>
          <p:cNvSpPr txBox="1"/>
          <p:nvPr/>
        </p:nvSpPr>
        <p:spPr>
          <a:xfrm>
            <a:off x="6245268" y="2402294"/>
            <a:ext cx="2911442" cy="507831"/>
          </a:xfrm>
          <a:prstGeom prst="rect">
            <a:avLst/>
          </a:prstGeom>
          <a:noFill/>
        </p:spPr>
        <p:txBody>
          <a:bodyPr wrap="square" rtlCol="0">
            <a:spAutoFit/>
          </a:bodyPr>
          <a:lstStyle/>
          <a:p>
            <a:r>
              <a:rPr lang="en-IN" sz="1350" dirty="0"/>
              <a:t>Already being monitored using TeCHO+</a:t>
            </a:r>
          </a:p>
        </p:txBody>
      </p:sp>
      <p:sp>
        <p:nvSpPr>
          <p:cNvPr id="20" name="TextBox 19"/>
          <p:cNvSpPr txBox="1"/>
          <p:nvPr/>
        </p:nvSpPr>
        <p:spPr>
          <a:xfrm>
            <a:off x="6977130" y="4086115"/>
            <a:ext cx="1447719" cy="300082"/>
          </a:xfrm>
          <a:prstGeom prst="rect">
            <a:avLst/>
          </a:prstGeom>
          <a:noFill/>
        </p:spPr>
        <p:txBody>
          <a:bodyPr wrap="square" rtlCol="0">
            <a:spAutoFit/>
          </a:bodyPr>
          <a:lstStyle/>
          <a:p>
            <a:pPr algn="ctr"/>
            <a:r>
              <a:rPr lang="en-IN" sz="1350" dirty="0"/>
              <a:t>Soon to be added</a:t>
            </a:r>
          </a:p>
        </p:txBody>
      </p:sp>
      <p:sp>
        <p:nvSpPr>
          <p:cNvPr id="21" name="Oval 20"/>
          <p:cNvSpPr/>
          <p:nvPr/>
        </p:nvSpPr>
        <p:spPr>
          <a:xfrm>
            <a:off x="3519055" y="2316133"/>
            <a:ext cx="1390052" cy="858169"/>
          </a:xfrm>
          <a:prstGeom prst="ellipse">
            <a:avLst/>
          </a:prstGeom>
          <a:no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sz="1350"/>
          </a:p>
        </p:txBody>
      </p:sp>
      <p:sp>
        <p:nvSpPr>
          <p:cNvPr id="23" name="Oval 22"/>
          <p:cNvSpPr/>
          <p:nvPr/>
        </p:nvSpPr>
        <p:spPr>
          <a:xfrm>
            <a:off x="2189638" y="4994692"/>
            <a:ext cx="2529349" cy="431390"/>
          </a:xfrm>
          <a:prstGeom prst="ellipse">
            <a:avLst/>
          </a:prstGeom>
          <a:noFill/>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N" sz="1350"/>
          </a:p>
        </p:txBody>
      </p:sp>
      <p:pic>
        <p:nvPicPr>
          <p:cNvPr id="2" name="Picture 1"/>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7491662" y="4531076"/>
            <a:ext cx="1231200" cy="1012500"/>
          </a:xfrm>
          <a:prstGeom prst="rect">
            <a:avLst/>
          </a:prstGeom>
          <a:ln>
            <a:solidFill>
              <a:schemeClr val="tx1"/>
            </a:solidFill>
          </a:ln>
        </p:spPr>
      </p:pic>
    </p:spTree>
    <p:extLst>
      <p:ext uri="{BB962C8B-B14F-4D97-AF65-F5344CB8AC3E}">
        <p14:creationId xmlns:p14="http://schemas.microsoft.com/office/powerpoint/2010/main" val="3251117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anim calcmode="lin" valueType="num">
                                      <p:cBhvr additive="base">
                                        <p:cTn id="33" dur="500" fill="hold"/>
                                        <p:tgtEl>
                                          <p:spTgt spid="4"/>
                                        </p:tgtEl>
                                        <p:attrNameLst>
                                          <p:attrName>ppt_x</p:attrName>
                                        </p:attrNameLst>
                                      </p:cBhvr>
                                      <p:tavLst>
                                        <p:tav tm="0">
                                          <p:val>
                                            <p:strVal val="#ppt_x"/>
                                          </p:val>
                                        </p:tav>
                                        <p:tav tm="100000">
                                          <p:val>
                                            <p:strVal val="#ppt_x"/>
                                          </p:val>
                                        </p:tav>
                                      </p:tavLst>
                                    </p:anim>
                                    <p:anim calcmode="lin" valueType="num">
                                      <p:cBhvr additive="base">
                                        <p:cTn id="3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0" grpId="0"/>
      <p:bldP spid="21" grpId="0" animBg="1"/>
      <p:bldP spid="2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E34A3BF-62CB-5F40-B289-3CC6BD2C0A2D}"/>
              </a:ext>
            </a:extLst>
          </p:cNvPr>
          <p:cNvSpPr>
            <a:spLocks noGrp="1"/>
          </p:cNvSpPr>
          <p:nvPr>
            <p:ph type="title"/>
          </p:nvPr>
        </p:nvSpPr>
        <p:spPr/>
        <p:txBody>
          <a:bodyPr/>
          <a:lstStyle/>
          <a:p>
            <a:r>
              <a:rPr lang="en-US" dirty="0">
                <a:solidFill>
                  <a:srgbClr val="FF0000"/>
                </a:solidFill>
              </a:rPr>
              <a:t>Big Data</a:t>
            </a:r>
          </a:p>
        </p:txBody>
      </p:sp>
      <p:pic>
        <p:nvPicPr>
          <p:cNvPr id="9" name="Content Placeholder 8">
            <a:extLst>
              <a:ext uri="{FF2B5EF4-FFF2-40B4-BE49-F238E27FC236}">
                <a16:creationId xmlns:a16="http://schemas.microsoft.com/office/drawing/2014/main" id="{B2886CCD-9617-BB47-AAD6-C67FF813C162}"/>
              </a:ext>
            </a:extLst>
          </p:cNvPr>
          <p:cNvPicPr>
            <a:picLocks noGrp="1" noChangeAspect="1"/>
          </p:cNvPicPr>
          <p:nvPr>
            <p:ph idx="1"/>
          </p:nvPr>
        </p:nvPicPr>
        <p:blipFill>
          <a:blip r:embed="rId2"/>
          <a:stretch>
            <a:fillRect/>
          </a:stretch>
        </p:blipFill>
        <p:spPr>
          <a:xfrm>
            <a:off x="4907233" y="1086592"/>
            <a:ext cx="6898922" cy="4447989"/>
          </a:xfrm>
        </p:spPr>
      </p:pic>
      <p:sp>
        <p:nvSpPr>
          <p:cNvPr id="7" name="Text Placeholder 6">
            <a:extLst>
              <a:ext uri="{FF2B5EF4-FFF2-40B4-BE49-F238E27FC236}">
                <a16:creationId xmlns:a16="http://schemas.microsoft.com/office/drawing/2014/main" id="{40149C9C-E4BC-F945-A734-2934A2AB9171}"/>
              </a:ext>
            </a:extLst>
          </p:cNvPr>
          <p:cNvSpPr>
            <a:spLocks noGrp="1"/>
          </p:cNvSpPr>
          <p:nvPr>
            <p:ph type="body" sz="half" idx="2"/>
          </p:nvPr>
        </p:nvSpPr>
        <p:spPr>
          <a:xfrm>
            <a:off x="839788" y="2731958"/>
            <a:ext cx="3932237" cy="3811588"/>
          </a:xfrm>
        </p:spPr>
        <p:txBody>
          <a:bodyPr>
            <a:normAutofit/>
          </a:bodyPr>
          <a:lstStyle/>
          <a:p>
            <a:r>
              <a:rPr lang="en-US" sz="3600" dirty="0"/>
              <a:t>Data Analytics</a:t>
            </a:r>
          </a:p>
          <a:p>
            <a:r>
              <a:rPr lang="en-US" sz="3600" dirty="0"/>
              <a:t>Use of Data</a:t>
            </a:r>
          </a:p>
          <a:p>
            <a:endParaRPr lang="en-US" sz="3600" dirty="0"/>
          </a:p>
          <a:p>
            <a:r>
              <a:rPr lang="en-US" sz="3600" dirty="0"/>
              <a:t>=&gt; TECHO Provides actionable points</a:t>
            </a:r>
          </a:p>
        </p:txBody>
      </p:sp>
    </p:spTree>
    <p:extLst>
      <p:ext uri="{BB962C8B-B14F-4D97-AF65-F5344CB8AC3E}">
        <p14:creationId xmlns:p14="http://schemas.microsoft.com/office/powerpoint/2010/main" val="974299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971800" y="304800"/>
            <a:ext cx="6096000" cy="990600"/>
          </a:xfrm>
        </p:spPr>
        <p:txBody>
          <a:bodyPr/>
          <a:lstStyle/>
          <a:p>
            <a:r>
              <a:rPr lang="en-IN" sz="3200" dirty="0"/>
              <a:t>CM Dashboard </a:t>
            </a:r>
            <a:br>
              <a:rPr lang="en-IN" sz="3200" dirty="0"/>
            </a:br>
            <a:r>
              <a:rPr lang="en-IN" sz="2000" dirty="0"/>
              <a:t>( 11 indicators from TeCHO+)</a:t>
            </a:r>
          </a:p>
        </p:txBody>
      </p:sp>
      <p:sp>
        <p:nvSpPr>
          <p:cNvPr id="2" name="Slide Number Placeholder 1"/>
          <p:cNvSpPr>
            <a:spLocks noGrp="1"/>
          </p:cNvSpPr>
          <p:nvPr>
            <p:ph type="sldNum" sz="quarter" idx="12"/>
          </p:nvPr>
        </p:nvSpPr>
        <p:spPr/>
        <p:txBody>
          <a:bodyPr/>
          <a:lstStyle/>
          <a:p>
            <a:fld id="{2A477851-D9BB-4E53-9300-2E55C74469EE}" type="slidenum">
              <a:rPr lang="en-IN" smtClean="0"/>
              <a:t>18</a:t>
            </a:fld>
            <a:endParaRPr lang="en-IN"/>
          </a:p>
        </p:txBody>
      </p:sp>
      <p:pic>
        <p:nvPicPr>
          <p:cNvPr id="6" name="Picture 2"/>
          <p:cNvPicPr>
            <a:picLocks noChangeAspect="1" noChangeArrowheads="1"/>
          </p:cNvPicPr>
          <p:nvPr/>
        </p:nvPicPr>
        <p:blipFill>
          <a:blip r:embed="rId2"/>
          <a:srcRect/>
          <a:stretch>
            <a:fillRect/>
          </a:stretch>
        </p:blipFill>
        <p:spPr bwMode="auto">
          <a:xfrm>
            <a:off x="1524000" y="1524000"/>
            <a:ext cx="9144000" cy="5334000"/>
          </a:xfrm>
          <a:prstGeom prst="rect">
            <a:avLst/>
          </a:prstGeom>
          <a:noFill/>
          <a:ln w="9525">
            <a:noFill/>
            <a:miter lim="800000"/>
            <a:headEnd/>
            <a:tailEnd/>
          </a:ln>
          <a:effectLst/>
        </p:spPr>
      </p:pic>
    </p:spTree>
    <p:extLst>
      <p:ext uri="{BB962C8B-B14F-4D97-AF65-F5344CB8AC3E}">
        <p14:creationId xmlns:p14="http://schemas.microsoft.com/office/powerpoint/2010/main" val="425009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9971314" y="2467429"/>
            <a:ext cx="184731" cy="369332"/>
          </a:xfrm>
          <a:prstGeom prst="rect">
            <a:avLst/>
          </a:prstGeom>
          <a:noFill/>
        </p:spPr>
        <p:txBody>
          <a:bodyPr wrap="none" rtlCol="0">
            <a:spAutoFit/>
          </a:bodyPr>
          <a:lstStyle/>
          <a:p>
            <a:endParaRPr lang="en-GB" dirty="0"/>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8527" b="12791"/>
          <a:stretch/>
        </p:blipFill>
        <p:spPr>
          <a:xfrm>
            <a:off x="134585" y="2467429"/>
            <a:ext cx="2260717" cy="1778782"/>
          </a:xfrm>
          <a:prstGeom prst="rect">
            <a:avLst/>
          </a:prstGeom>
        </p:spPr>
      </p:pic>
      <p:graphicFrame>
        <p:nvGraphicFramePr>
          <p:cNvPr id="9" name="Diagram 8"/>
          <p:cNvGraphicFramePr/>
          <p:nvPr>
            <p:extLst>
              <p:ext uri="{D42A27DB-BD31-4B8C-83A1-F6EECF244321}">
                <p14:modId xmlns:p14="http://schemas.microsoft.com/office/powerpoint/2010/main" val="1822502100"/>
              </p:ext>
            </p:extLst>
          </p:nvPr>
        </p:nvGraphicFramePr>
        <p:xfrm>
          <a:off x="1850244" y="1"/>
          <a:ext cx="10341755"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0103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11">
            <a:extLst>
              <a:ext uri="{FF2B5EF4-FFF2-40B4-BE49-F238E27FC236}">
                <a16:creationId xmlns:a16="http://schemas.microsoft.com/office/drawing/2014/main" id="{60CA34D2-4E7E-3244-A8DA-CE35C78DAAE7}"/>
              </a:ext>
            </a:extLst>
          </p:cNvPr>
          <p:cNvGraphicFramePr>
            <a:graphicFrameLocks noGrp="1"/>
          </p:cNvGraphicFramePr>
          <p:nvPr>
            <p:ph sz="half" idx="2"/>
            <p:extLst>
              <p:ext uri="{D42A27DB-BD31-4B8C-83A1-F6EECF244321}">
                <p14:modId xmlns:p14="http://schemas.microsoft.com/office/powerpoint/2010/main" val="1067908907"/>
              </p:ext>
            </p:extLst>
          </p:nvPr>
        </p:nvGraphicFramePr>
        <p:xfrm>
          <a:off x="6172200" y="1448790"/>
          <a:ext cx="5181600" cy="47281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Content Placeholder 8">
            <a:extLst>
              <a:ext uri="{FF2B5EF4-FFF2-40B4-BE49-F238E27FC236}">
                <a16:creationId xmlns:a16="http://schemas.microsoft.com/office/drawing/2014/main" id="{B16FE78A-A560-244E-8DE1-96A1052AC038}"/>
              </a:ext>
            </a:extLst>
          </p:cNvPr>
          <p:cNvGraphicFramePr>
            <a:graphicFrameLocks noGrp="1"/>
          </p:cNvGraphicFramePr>
          <p:nvPr>
            <p:ph sz="half" idx="1"/>
            <p:extLst>
              <p:ext uri="{D42A27DB-BD31-4B8C-83A1-F6EECF244321}">
                <p14:modId xmlns:p14="http://schemas.microsoft.com/office/powerpoint/2010/main" val="2070659513"/>
              </p:ext>
            </p:extLst>
          </p:nvPr>
        </p:nvGraphicFramePr>
        <p:xfrm>
          <a:off x="914400" y="1448790"/>
          <a:ext cx="5181600" cy="472817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6" name="TextBox 15">
            <a:extLst>
              <a:ext uri="{FF2B5EF4-FFF2-40B4-BE49-F238E27FC236}">
                <a16:creationId xmlns:a16="http://schemas.microsoft.com/office/drawing/2014/main" id="{F21A9B91-2517-5C41-98C3-EB2DCA8904B0}"/>
              </a:ext>
            </a:extLst>
          </p:cNvPr>
          <p:cNvSpPr txBox="1"/>
          <p:nvPr/>
        </p:nvSpPr>
        <p:spPr>
          <a:xfrm>
            <a:off x="914400" y="371264"/>
            <a:ext cx="1342034" cy="707886"/>
          </a:xfrm>
          <a:prstGeom prst="rect">
            <a:avLst/>
          </a:prstGeom>
          <a:noFill/>
        </p:spPr>
        <p:txBody>
          <a:bodyPr wrap="none" rtlCol="0">
            <a:spAutoFit/>
          </a:bodyPr>
          <a:lstStyle/>
          <a:p>
            <a:r>
              <a:rPr lang="en-US" sz="4000" dirty="0"/>
              <a:t>Goals</a:t>
            </a:r>
          </a:p>
        </p:txBody>
      </p:sp>
      <p:sp>
        <p:nvSpPr>
          <p:cNvPr id="17" name="TextBox 16">
            <a:extLst>
              <a:ext uri="{FF2B5EF4-FFF2-40B4-BE49-F238E27FC236}">
                <a16:creationId xmlns:a16="http://schemas.microsoft.com/office/drawing/2014/main" id="{97D503EF-AAD5-4345-8F18-AC80207D3526}"/>
              </a:ext>
            </a:extLst>
          </p:cNvPr>
          <p:cNvSpPr txBox="1"/>
          <p:nvPr/>
        </p:nvSpPr>
        <p:spPr>
          <a:xfrm>
            <a:off x="6642265" y="365125"/>
            <a:ext cx="4542975" cy="707886"/>
          </a:xfrm>
          <a:prstGeom prst="rect">
            <a:avLst/>
          </a:prstGeom>
          <a:noFill/>
        </p:spPr>
        <p:txBody>
          <a:bodyPr wrap="none" rtlCol="0">
            <a:spAutoFit/>
          </a:bodyPr>
          <a:lstStyle/>
          <a:p>
            <a:r>
              <a:rPr lang="en-US" sz="4000" dirty="0"/>
              <a:t>Inputs and Processes</a:t>
            </a:r>
          </a:p>
        </p:txBody>
      </p:sp>
    </p:spTree>
    <p:extLst>
      <p:ext uri="{BB962C8B-B14F-4D97-AF65-F5344CB8AC3E}">
        <p14:creationId xmlns:p14="http://schemas.microsoft.com/office/powerpoint/2010/main" val="19013603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9971314" y="2467429"/>
            <a:ext cx="184731" cy="369332"/>
          </a:xfrm>
          <a:prstGeom prst="rect">
            <a:avLst/>
          </a:prstGeom>
          <a:noFill/>
        </p:spPr>
        <p:txBody>
          <a:bodyPr wrap="none" rtlCol="0">
            <a:spAutoFit/>
          </a:bodyPr>
          <a:lstStyle/>
          <a:p>
            <a:endParaRPr lang="en-GB" dirty="0"/>
          </a:p>
        </p:txBody>
      </p:sp>
      <p:graphicFrame>
        <p:nvGraphicFramePr>
          <p:cNvPr id="2" name="Diagram 1"/>
          <p:cNvGraphicFramePr/>
          <p:nvPr>
            <p:extLst>
              <p:ext uri="{D42A27DB-BD31-4B8C-83A1-F6EECF244321}">
                <p14:modId xmlns:p14="http://schemas.microsoft.com/office/powerpoint/2010/main" val="3028954607"/>
              </p:ext>
            </p:extLst>
          </p:nvPr>
        </p:nvGraphicFramePr>
        <p:xfrm>
          <a:off x="1654629" y="0"/>
          <a:ext cx="10537371"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rotWithShape="1">
          <a:blip r:embed="rId7" cstate="print">
            <a:extLst>
              <a:ext uri="{28A0092B-C50C-407E-A947-70E740481C1C}">
                <a14:useLocalDpi xmlns:a14="http://schemas.microsoft.com/office/drawing/2010/main" val="0"/>
              </a:ext>
            </a:extLst>
          </a:blip>
          <a:srcRect t="8527" b="12791"/>
          <a:stretch/>
        </p:blipFill>
        <p:spPr>
          <a:xfrm>
            <a:off x="395843" y="2652095"/>
            <a:ext cx="2260717" cy="1778782"/>
          </a:xfrm>
          <a:prstGeom prst="rect">
            <a:avLst/>
          </a:prstGeom>
        </p:spPr>
      </p:pic>
    </p:spTree>
    <p:extLst>
      <p:ext uri="{BB962C8B-B14F-4D97-AF65-F5344CB8AC3E}">
        <p14:creationId xmlns:p14="http://schemas.microsoft.com/office/powerpoint/2010/main" val="12787009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25353BA1-3A2F-A243-A020-6082F0F09861}"/>
              </a:ext>
            </a:extLst>
          </p:cNvPr>
          <p:cNvPicPr>
            <a:picLocks noGrp="1" noChangeAspect="1"/>
          </p:cNvPicPr>
          <p:nvPr>
            <p:ph sz="half" idx="1"/>
          </p:nvPr>
        </p:nvPicPr>
        <p:blipFill>
          <a:blip r:embed="rId2"/>
          <a:stretch>
            <a:fillRect/>
          </a:stretch>
        </p:blipFill>
        <p:spPr>
          <a:xfrm>
            <a:off x="2018423" y="1239427"/>
            <a:ext cx="3963278" cy="2596303"/>
          </a:xfrm>
        </p:spPr>
      </p:pic>
      <p:pic>
        <p:nvPicPr>
          <p:cNvPr id="11" name="Content Placeholder 10">
            <a:extLst>
              <a:ext uri="{FF2B5EF4-FFF2-40B4-BE49-F238E27FC236}">
                <a16:creationId xmlns:a16="http://schemas.microsoft.com/office/drawing/2014/main" id="{7BE7347D-237F-6D48-8968-AAF1FC21F0E0}"/>
              </a:ext>
            </a:extLst>
          </p:cNvPr>
          <p:cNvPicPr>
            <a:picLocks noGrp="1" noChangeAspect="1"/>
          </p:cNvPicPr>
          <p:nvPr>
            <p:ph sz="half" idx="2"/>
          </p:nvPr>
        </p:nvPicPr>
        <p:blipFill rotWithShape="1">
          <a:blip r:embed="rId3"/>
          <a:srcRect t="4004" r="2099" b="20526"/>
          <a:stretch/>
        </p:blipFill>
        <p:spPr>
          <a:xfrm>
            <a:off x="7302312" y="206273"/>
            <a:ext cx="3694239" cy="6165379"/>
          </a:xfrm>
        </p:spPr>
      </p:pic>
      <p:pic>
        <p:nvPicPr>
          <p:cNvPr id="12" name="Content Placeholder 8">
            <a:extLst>
              <a:ext uri="{FF2B5EF4-FFF2-40B4-BE49-F238E27FC236}">
                <a16:creationId xmlns:a16="http://schemas.microsoft.com/office/drawing/2014/main" id="{FA3548DA-71C6-C142-84E3-82C6313263CA}"/>
              </a:ext>
            </a:extLst>
          </p:cNvPr>
          <p:cNvPicPr>
            <a:picLocks noChangeAspect="1"/>
          </p:cNvPicPr>
          <p:nvPr/>
        </p:nvPicPr>
        <p:blipFill>
          <a:blip r:embed="rId4"/>
          <a:stretch>
            <a:fillRect/>
          </a:stretch>
        </p:blipFill>
        <p:spPr>
          <a:xfrm>
            <a:off x="2018805" y="4146238"/>
            <a:ext cx="3962895" cy="2386281"/>
          </a:xfrm>
          <a:prstGeom prst="rect">
            <a:avLst/>
          </a:prstGeom>
        </p:spPr>
      </p:pic>
      <p:sp>
        <p:nvSpPr>
          <p:cNvPr id="13" name="TextBox 12">
            <a:extLst>
              <a:ext uri="{FF2B5EF4-FFF2-40B4-BE49-F238E27FC236}">
                <a16:creationId xmlns:a16="http://schemas.microsoft.com/office/drawing/2014/main" id="{F6DDD2D7-95D0-B74C-90B2-D4DD91CC4A65}"/>
              </a:ext>
            </a:extLst>
          </p:cNvPr>
          <p:cNvSpPr txBox="1"/>
          <p:nvPr/>
        </p:nvSpPr>
        <p:spPr>
          <a:xfrm>
            <a:off x="2018423" y="206273"/>
            <a:ext cx="4190571" cy="1077218"/>
          </a:xfrm>
          <a:prstGeom prst="rect">
            <a:avLst/>
          </a:prstGeom>
          <a:noFill/>
        </p:spPr>
        <p:txBody>
          <a:bodyPr wrap="none" rtlCol="0">
            <a:spAutoFit/>
          </a:bodyPr>
          <a:lstStyle/>
          <a:p>
            <a:r>
              <a:rPr lang="en-US" sz="3200" dirty="0"/>
              <a:t>One vision, One mission</a:t>
            </a:r>
          </a:p>
          <a:p>
            <a:pPr algn="ctr"/>
            <a:r>
              <a:rPr lang="en-US" sz="3200" dirty="0"/>
              <a:t>Team Gujarat</a:t>
            </a:r>
          </a:p>
        </p:txBody>
      </p:sp>
    </p:spTree>
    <p:extLst>
      <p:ext uri="{BB962C8B-B14F-4D97-AF65-F5344CB8AC3E}">
        <p14:creationId xmlns:p14="http://schemas.microsoft.com/office/powerpoint/2010/main" val="21310522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5D03BEF2-C3D3-394F-920E-583688E96738}"/>
              </a:ext>
            </a:extLst>
          </p:cNvPr>
          <p:cNvPicPr>
            <a:picLocks noGrp="1" noChangeAspect="1"/>
          </p:cNvPicPr>
          <p:nvPr>
            <p:ph idx="1"/>
          </p:nvPr>
        </p:nvPicPr>
        <p:blipFill rotWithShape="1">
          <a:blip r:embed="rId2"/>
          <a:srcRect l="38585" t="15891" r="3596" b="38339"/>
          <a:stretch/>
        </p:blipFill>
        <p:spPr>
          <a:xfrm>
            <a:off x="1187532" y="1365661"/>
            <a:ext cx="10010070" cy="3728853"/>
          </a:xfrm>
        </p:spPr>
      </p:pic>
    </p:spTree>
    <p:extLst>
      <p:ext uri="{BB962C8B-B14F-4D97-AF65-F5344CB8AC3E}">
        <p14:creationId xmlns:p14="http://schemas.microsoft.com/office/powerpoint/2010/main" val="717501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496D13-C662-9449-9E3C-244FBAE149C2}"/>
              </a:ext>
            </a:extLst>
          </p:cNvPr>
          <p:cNvSpPr>
            <a:spLocks noGrp="1"/>
          </p:cNvSpPr>
          <p:nvPr>
            <p:ph type="title"/>
          </p:nvPr>
        </p:nvSpPr>
        <p:spPr/>
        <p:txBody>
          <a:bodyPr>
            <a:normAutofit/>
          </a:bodyPr>
          <a:lstStyle/>
          <a:p>
            <a:r>
              <a:rPr lang="en-US" dirty="0">
                <a:solidFill>
                  <a:srgbClr val="FF0000"/>
                </a:solidFill>
              </a:rPr>
              <a:t>Ranking of Departments/ Districts</a:t>
            </a:r>
          </a:p>
        </p:txBody>
      </p:sp>
      <p:pic>
        <p:nvPicPr>
          <p:cNvPr id="8" name="Content Placeholder 7">
            <a:extLst>
              <a:ext uri="{FF2B5EF4-FFF2-40B4-BE49-F238E27FC236}">
                <a16:creationId xmlns:a16="http://schemas.microsoft.com/office/drawing/2014/main" id="{7611556F-D54A-084E-A41C-8F25E4773B30}"/>
              </a:ext>
            </a:extLst>
          </p:cNvPr>
          <p:cNvPicPr>
            <a:picLocks noGrp="1" noChangeAspect="1"/>
          </p:cNvPicPr>
          <p:nvPr>
            <p:ph idx="1"/>
          </p:nvPr>
        </p:nvPicPr>
        <p:blipFill rotWithShape="1">
          <a:blip r:embed="rId3"/>
          <a:srcRect t="4229" r="1439" b="19746"/>
          <a:stretch/>
        </p:blipFill>
        <p:spPr>
          <a:xfrm>
            <a:off x="8662174" y="931562"/>
            <a:ext cx="2760331" cy="4609421"/>
          </a:xfrm>
        </p:spPr>
      </p:pic>
      <p:sp>
        <p:nvSpPr>
          <p:cNvPr id="6" name="Text Placeholder 5">
            <a:extLst>
              <a:ext uri="{FF2B5EF4-FFF2-40B4-BE49-F238E27FC236}">
                <a16:creationId xmlns:a16="http://schemas.microsoft.com/office/drawing/2014/main" id="{438442AE-1DB8-DB4F-8CF6-C24603AD34EC}"/>
              </a:ext>
            </a:extLst>
          </p:cNvPr>
          <p:cNvSpPr>
            <a:spLocks noGrp="1"/>
          </p:cNvSpPr>
          <p:nvPr>
            <p:ph type="body" sz="half" idx="2"/>
          </p:nvPr>
        </p:nvSpPr>
        <p:spPr/>
        <p:txBody>
          <a:bodyPr>
            <a:normAutofit/>
          </a:bodyPr>
          <a:lstStyle/>
          <a:p>
            <a:endParaRPr lang="en-US" sz="2800" dirty="0"/>
          </a:p>
          <a:p>
            <a:r>
              <a:rPr lang="en-US" sz="2800" dirty="0"/>
              <a:t>Remarkable improvement in Health indicators</a:t>
            </a:r>
          </a:p>
          <a:p>
            <a:pPr marL="457200" indent="-457200">
              <a:buFont typeface="Arial" panose="020B0604020202020204" pitchFamily="34" charset="0"/>
              <a:buChar char="•"/>
            </a:pPr>
            <a:r>
              <a:rPr lang="en-US" sz="2800" dirty="0"/>
              <a:t>Full immunization</a:t>
            </a:r>
          </a:p>
          <a:p>
            <a:pPr marL="457200" indent="-457200">
              <a:buFont typeface="Arial" panose="020B0604020202020204" pitchFamily="34" charset="0"/>
              <a:buChar char="•"/>
            </a:pPr>
            <a:r>
              <a:rPr lang="en-US" sz="2800" dirty="0"/>
              <a:t>Sex ratio</a:t>
            </a:r>
          </a:p>
          <a:p>
            <a:pPr marL="457200" indent="-457200">
              <a:buFont typeface="Arial" panose="020B0604020202020204" pitchFamily="34" charset="0"/>
              <a:buChar char="•"/>
            </a:pPr>
            <a:r>
              <a:rPr lang="en-US" sz="2800" dirty="0"/>
              <a:t>IMR</a:t>
            </a:r>
          </a:p>
          <a:p>
            <a:pPr marL="457200" indent="-457200">
              <a:buFont typeface="Arial" panose="020B0604020202020204" pitchFamily="34" charset="0"/>
              <a:buChar char="•"/>
            </a:pPr>
            <a:r>
              <a:rPr lang="en-US" sz="2800" dirty="0"/>
              <a:t>MMR</a:t>
            </a:r>
          </a:p>
        </p:txBody>
      </p:sp>
      <p:pic>
        <p:nvPicPr>
          <p:cNvPr id="5" name="Content Placeholder 3">
            <a:extLst>
              <a:ext uri="{FF2B5EF4-FFF2-40B4-BE49-F238E27FC236}">
                <a16:creationId xmlns:a16="http://schemas.microsoft.com/office/drawing/2014/main" id="{A12A375B-CCA6-7C4C-95F5-EEF598B4A1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81960" y="931562"/>
            <a:ext cx="2888582" cy="4609421"/>
          </a:xfrm>
          <a:prstGeom prst="rect">
            <a:avLst/>
          </a:prstGeom>
        </p:spPr>
      </p:pic>
      <p:sp>
        <p:nvSpPr>
          <p:cNvPr id="2" name="TextBox 1">
            <a:extLst>
              <a:ext uri="{FF2B5EF4-FFF2-40B4-BE49-F238E27FC236}">
                <a16:creationId xmlns:a16="http://schemas.microsoft.com/office/drawing/2014/main" id="{E6D0239C-7BE4-6142-B8BF-D5EE5C7FAC94}"/>
              </a:ext>
            </a:extLst>
          </p:cNvPr>
          <p:cNvSpPr txBox="1"/>
          <p:nvPr/>
        </p:nvSpPr>
        <p:spPr>
          <a:xfrm>
            <a:off x="5778935" y="457200"/>
            <a:ext cx="1694631" cy="369332"/>
          </a:xfrm>
          <a:prstGeom prst="rect">
            <a:avLst/>
          </a:prstGeom>
          <a:noFill/>
        </p:spPr>
        <p:txBody>
          <a:bodyPr wrap="none" rtlCol="0">
            <a:spAutoFit/>
          </a:bodyPr>
          <a:lstStyle/>
          <a:p>
            <a:r>
              <a:rPr lang="en-US" dirty="0"/>
              <a:t>November 2018</a:t>
            </a:r>
          </a:p>
        </p:txBody>
      </p:sp>
      <p:sp>
        <p:nvSpPr>
          <p:cNvPr id="3" name="TextBox 2">
            <a:extLst>
              <a:ext uri="{FF2B5EF4-FFF2-40B4-BE49-F238E27FC236}">
                <a16:creationId xmlns:a16="http://schemas.microsoft.com/office/drawing/2014/main" id="{FF962F6B-E5AD-7B45-A1EE-8819649069B4}"/>
              </a:ext>
            </a:extLst>
          </p:cNvPr>
          <p:cNvSpPr txBox="1"/>
          <p:nvPr/>
        </p:nvSpPr>
        <p:spPr>
          <a:xfrm>
            <a:off x="9195023" y="457200"/>
            <a:ext cx="1694631" cy="369332"/>
          </a:xfrm>
          <a:prstGeom prst="rect">
            <a:avLst/>
          </a:prstGeom>
          <a:noFill/>
        </p:spPr>
        <p:txBody>
          <a:bodyPr wrap="none" rtlCol="0">
            <a:spAutoFit/>
          </a:bodyPr>
          <a:lstStyle/>
          <a:p>
            <a:r>
              <a:rPr lang="en-US" dirty="0"/>
              <a:t>November 2019</a:t>
            </a:r>
          </a:p>
        </p:txBody>
      </p:sp>
    </p:spTree>
    <p:extLst>
      <p:ext uri="{BB962C8B-B14F-4D97-AF65-F5344CB8AC3E}">
        <p14:creationId xmlns:p14="http://schemas.microsoft.com/office/powerpoint/2010/main" val="2576422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Google Shape;342;p10"/>
          <p:cNvSpPr txBox="1">
            <a:spLocks noGrp="1"/>
          </p:cNvSpPr>
          <p:nvPr>
            <p:ph type="title"/>
          </p:nvPr>
        </p:nvSpPr>
        <p:spPr>
          <a:xfrm>
            <a:off x="838200" y="11178"/>
            <a:ext cx="10515600" cy="1325563"/>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dk1"/>
              </a:buClr>
              <a:buSzPts val="4400"/>
              <a:buFont typeface="Calibri"/>
              <a:buNone/>
            </a:pPr>
            <a:r>
              <a:rPr lang="en-US" sz="3200" b="1" dirty="0">
                <a:solidFill>
                  <a:srgbClr val="0070C0"/>
                </a:solidFill>
                <a:latin typeface="Cambria" panose="02040503050406030204" pitchFamily="18" charset="0"/>
              </a:rPr>
              <a:t>Partners </a:t>
            </a:r>
            <a:endParaRPr sz="3200" b="1" dirty="0">
              <a:solidFill>
                <a:srgbClr val="0070C0"/>
              </a:solidFill>
              <a:latin typeface="Cambria" panose="02040503050406030204" pitchFamily="18" charset="0"/>
            </a:endParaRPr>
          </a:p>
        </p:txBody>
      </p:sp>
      <p:sp>
        <p:nvSpPr>
          <p:cNvPr id="343" name="Google Shape;343;p10"/>
          <p:cNvSpPr txBox="1">
            <a:spLocks noGrp="1"/>
          </p:cNvSpPr>
          <p:nvPr>
            <p:ph type="body" idx="1"/>
          </p:nvPr>
        </p:nvSpPr>
        <p:spPr>
          <a:xfrm>
            <a:off x="2936782" y="2859434"/>
            <a:ext cx="2447925" cy="889138"/>
          </a:xfrm>
          <a:prstGeom prst="rect">
            <a:avLst/>
          </a:prstGeom>
          <a:noFill/>
          <a:ln>
            <a:noFill/>
          </a:ln>
        </p:spPr>
        <p:txBody>
          <a:bodyPr spcFirstLastPara="1" wrap="square" lIns="91425" tIns="45700" rIns="91425" bIns="45700" anchor="t" anchorCtr="0">
            <a:normAutofit/>
          </a:bodyPr>
          <a:lstStyle/>
          <a:p>
            <a:pPr marL="0" lvl="0" indent="0" algn="ctr" rtl="0">
              <a:lnSpc>
                <a:spcPct val="90000"/>
              </a:lnSpc>
              <a:spcBef>
                <a:spcPts val="0"/>
              </a:spcBef>
              <a:spcAft>
                <a:spcPts val="0"/>
              </a:spcAft>
              <a:buClr>
                <a:schemeClr val="dk1"/>
              </a:buClr>
              <a:buSzPts val="2800"/>
              <a:buNone/>
            </a:pPr>
            <a:r>
              <a:rPr lang="en-US" sz="1600" dirty="0">
                <a:solidFill>
                  <a:schemeClr val="tx1">
                    <a:lumMod val="75000"/>
                    <a:lumOff val="25000"/>
                  </a:schemeClr>
                </a:solidFill>
              </a:rPr>
              <a:t>Argusoft India Ltd - Software</a:t>
            </a:r>
            <a:endParaRPr sz="1600" dirty="0">
              <a:solidFill>
                <a:schemeClr val="tx1">
                  <a:lumMod val="75000"/>
                  <a:lumOff val="25000"/>
                </a:schemeClr>
              </a:solidFill>
            </a:endParaRPr>
          </a:p>
        </p:txBody>
      </p:sp>
      <p:sp>
        <p:nvSpPr>
          <p:cNvPr id="2" name="Slide Number Placeholder 1">
            <a:extLst>
              <a:ext uri="{FF2B5EF4-FFF2-40B4-BE49-F238E27FC236}">
                <a16:creationId xmlns:a16="http://schemas.microsoft.com/office/drawing/2014/main" id="{648D8D21-0D58-49E1-9BB8-F261105F80E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4</a:t>
            </a:fld>
            <a:endParaRPr lang="en-US"/>
          </a:p>
        </p:txBody>
      </p:sp>
      <p:grpSp>
        <p:nvGrpSpPr>
          <p:cNvPr id="5" name="Group 4">
            <a:extLst>
              <a:ext uri="{FF2B5EF4-FFF2-40B4-BE49-F238E27FC236}">
                <a16:creationId xmlns:a16="http://schemas.microsoft.com/office/drawing/2014/main" id="{6702C903-14B2-4822-84F4-1790527D7D99}"/>
              </a:ext>
            </a:extLst>
          </p:cNvPr>
          <p:cNvGrpSpPr/>
          <p:nvPr/>
        </p:nvGrpSpPr>
        <p:grpSpPr>
          <a:xfrm>
            <a:off x="0" y="6356350"/>
            <a:ext cx="12192000" cy="371199"/>
            <a:chOff x="0" y="6356350"/>
            <a:chExt cx="12192000" cy="371199"/>
          </a:xfrm>
        </p:grpSpPr>
        <p:sp>
          <p:nvSpPr>
            <p:cNvPr id="6" name="Rectangle 4">
              <a:extLst>
                <a:ext uri="{FF2B5EF4-FFF2-40B4-BE49-F238E27FC236}">
                  <a16:creationId xmlns:a16="http://schemas.microsoft.com/office/drawing/2014/main" id="{5EDF9FAD-A224-4B0F-B3E6-F30AE4F84E56}"/>
                </a:ext>
              </a:extLst>
            </p:cNvPr>
            <p:cNvSpPr/>
            <p:nvPr/>
          </p:nvSpPr>
          <p:spPr>
            <a:xfrm rot="10800000">
              <a:off x="11237770" y="6356350"/>
              <a:ext cx="886463" cy="365124"/>
            </a:xfrm>
            <a:custGeom>
              <a:avLst/>
              <a:gdLst>
                <a:gd name="connsiteX0" fmla="*/ 0 w 11057467"/>
                <a:gd name="connsiteY0" fmla="*/ 0 h 365125"/>
                <a:gd name="connsiteX1" fmla="*/ 11057467 w 11057467"/>
                <a:gd name="connsiteY1" fmla="*/ 0 h 365125"/>
                <a:gd name="connsiteX2" fmla="*/ 11057467 w 11057467"/>
                <a:gd name="connsiteY2" fmla="*/ 365125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10783147 w 11057467"/>
                <a:gd name="connsiteY2" fmla="*/ 365125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10180260 w 11057467"/>
                <a:gd name="connsiteY2" fmla="*/ 352697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8626906 w 11057467"/>
                <a:gd name="connsiteY2" fmla="*/ 338465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9248245 w 11057467"/>
                <a:gd name="connsiteY2" fmla="*/ 363371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7612333 w 11057467"/>
                <a:gd name="connsiteY2" fmla="*/ 359728 h 365125"/>
                <a:gd name="connsiteX3" fmla="*/ 0 w 11057467"/>
                <a:gd name="connsiteY3" fmla="*/ 365125 h 365125"/>
                <a:gd name="connsiteX4" fmla="*/ 0 w 11057467"/>
                <a:gd name="connsiteY4" fmla="*/ 0 h 36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7467" h="365125">
                  <a:moveTo>
                    <a:pt x="0" y="0"/>
                  </a:moveTo>
                  <a:lnTo>
                    <a:pt x="11057467" y="0"/>
                  </a:lnTo>
                  <a:lnTo>
                    <a:pt x="7612333" y="359728"/>
                  </a:lnTo>
                  <a:lnTo>
                    <a:pt x="0" y="365125"/>
                  </a:lnTo>
                  <a:lnTo>
                    <a:pt x="0" y="0"/>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4">
              <a:extLst>
                <a:ext uri="{FF2B5EF4-FFF2-40B4-BE49-F238E27FC236}">
                  <a16:creationId xmlns:a16="http://schemas.microsoft.com/office/drawing/2014/main" id="{74536C10-E2BC-415A-94B7-630A40DA3BEA}"/>
                </a:ext>
              </a:extLst>
            </p:cNvPr>
            <p:cNvSpPr/>
            <p:nvPr/>
          </p:nvSpPr>
          <p:spPr>
            <a:xfrm>
              <a:off x="91899" y="6362424"/>
              <a:ext cx="11057467" cy="365125"/>
            </a:xfrm>
            <a:custGeom>
              <a:avLst/>
              <a:gdLst>
                <a:gd name="connsiteX0" fmla="*/ 0 w 11057467"/>
                <a:gd name="connsiteY0" fmla="*/ 0 h 365125"/>
                <a:gd name="connsiteX1" fmla="*/ 11057467 w 11057467"/>
                <a:gd name="connsiteY1" fmla="*/ 0 h 365125"/>
                <a:gd name="connsiteX2" fmla="*/ 11057467 w 11057467"/>
                <a:gd name="connsiteY2" fmla="*/ 365125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10783147 w 11057467"/>
                <a:gd name="connsiteY2" fmla="*/ 365125 h 365125"/>
                <a:gd name="connsiteX3" fmla="*/ 0 w 11057467"/>
                <a:gd name="connsiteY3" fmla="*/ 365125 h 365125"/>
                <a:gd name="connsiteX4" fmla="*/ 0 w 11057467"/>
                <a:gd name="connsiteY4" fmla="*/ 0 h 36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7467" h="365125">
                  <a:moveTo>
                    <a:pt x="0" y="0"/>
                  </a:moveTo>
                  <a:lnTo>
                    <a:pt x="11057467" y="0"/>
                  </a:lnTo>
                  <a:lnTo>
                    <a:pt x="10783147" y="365125"/>
                  </a:lnTo>
                  <a:lnTo>
                    <a:pt x="0" y="365125"/>
                  </a:lnTo>
                  <a:lnTo>
                    <a:pt x="0" y="0"/>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4">
              <a:extLst>
                <a:ext uri="{FF2B5EF4-FFF2-40B4-BE49-F238E27FC236}">
                  <a16:creationId xmlns:a16="http://schemas.microsoft.com/office/drawing/2014/main" id="{74279F37-A570-4528-9F0B-6EFAAA953BFB}"/>
                </a:ext>
              </a:extLst>
            </p:cNvPr>
            <p:cNvSpPr/>
            <p:nvPr/>
          </p:nvSpPr>
          <p:spPr>
            <a:xfrm>
              <a:off x="0" y="6356350"/>
              <a:ext cx="11057467" cy="365125"/>
            </a:xfrm>
            <a:custGeom>
              <a:avLst/>
              <a:gdLst>
                <a:gd name="connsiteX0" fmla="*/ 0 w 11057467"/>
                <a:gd name="connsiteY0" fmla="*/ 0 h 365125"/>
                <a:gd name="connsiteX1" fmla="*/ 11057467 w 11057467"/>
                <a:gd name="connsiteY1" fmla="*/ 0 h 365125"/>
                <a:gd name="connsiteX2" fmla="*/ 11057467 w 11057467"/>
                <a:gd name="connsiteY2" fmla="*/ 365125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10783147 w 11057467"/>
                <a:gd name="connsiteY2" fmla="*/ 365125 h 365125"/>
                <a:gd name="connsiteX3" fmla="*/ 0 w 11057467"/>
                <a:gd name="connsiteY3" fmla="*/ 365125 h 365125"/>
                <a:gd name="connsiteX4" fmla="*/ 0 w 11057467"/>
                <a:gd name="connsiteY4" fmla="*/ 0 h 36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7467" h="365125">
                  <a:moveTo>
                    <a:pt x="0" y="0"/>
                  </a:moveTo>
                  <a:lnTo>
                    <a:pt x="11057467" y="0"/>
                  </a:lnTo>
                  <a:lnTo>
                    <a:pt x="10783147" y="365125"/>
                  </a:lnTo>
                  <a:lnTo>
                    <a:pt x="0" y="36512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4">
              <a:extLst>
                <a:ext uri="{FF2B5EF4-FFF2-40B4-BE49-F238E27FC236}">
                  <a16:creationId xmlns:a16="http://schemas.microsoft.com/office/drawing/2014/main" id="{9C152786-C3F3-4048-9513-BE420670B57D}"/>
                </a:ext>
              </a:extLst>
            </p:cNvPr>
            <p:cNvSpPr/>
            <p:nvPr/>
          </p:nvSpPr>
          <p:spPr>
            <a:xfrm rot="10800000">
              <a:off x="11305537" y="6356350"/>
              <a:ext cx="886463" cy="365124"/>
            </a:xfrm>
            <a:custGeom>
              <a:avLst/>
              <a:gdLst>
                <a:gd name="connsiteX0" fmla="*/ 0 w 11057467"/>
                <a:gd name="connsiteY0" fmla="*/ 0 h 365125"/>
                <a:gd name="connsiteX1" fmla="*/ 11057467 w 11057467"/>
                <a:gd name="connsiteY1" fmla="*/ 0 h 365125"/>
                <a:gd name="connsiteX2" fmla="*/ 11057467 w 11057467"/>
                <a:gd name="connsiteY2" fmla="*/ 365125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10783147 w 11057467"/>
                <a:gd name="connsiteY2" fmla="*/ 365125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10180260 w 11057467"/>
                <a:gd name="connsiteY2" fmla="*/ 352697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8626906 w 11057467"/>
                <a:gd name="connsiteY2" fmla="*/ 338465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9248245 w 11057467"/>
                <a:gd name="connsiteY2" fmla="*/ 363371 h 365125"/>
                <a:gd name="connsiteX3" fmla="*/ 0 w 11057467"/>
                <a:gd name="connsiteY3" fmla="*/ 365125 h 365125"/>
                <a:gd name="connsiteX4" fmla="*/ 0 w 11057467"/>
                <a:gd name="connsiteY4" fmla="*/ 0 h 365125"/>
                <a:gd name="connsiteX0" fmla="*/ 0 w 11057467"/>
                <a:gd name="connsiteY0" fmla="*/ 0 h 365125"/>
                <a:gd name="connsiteX1" fmla="*/ 11057467 w 11057467"/>
                <a:gd name="connsiteY1" fmla="*/ 0 h 365125"/>
                <a:gd name="connsiteX2" fmla="*/ 7612333 w 11057467"/>
                <a:gd name="connsiteY2" fmla="*/ 359728 h 365125"/>
                <a:gd name="connsiteX3" fmla="*/ 0 w 11057467"/>
                <a:gd name="connsiteY3" fmla="*/ 365125 h 365125"/>
                <a:gd name="connsiteX4" fmla="*/ 0 w 11057467"/>
                <a:gd name="connsiteY4" fmla="*/ 0 h 36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7467" h="365125">
                  <a:moveTo>
                    <a:pt x="0" y="0"/>
                  </a:moveTo>
                  <a:lnTo>
                    <a:pt x="11057467" y="0"/>
                  </a:lnTo>
                  <a:lnTo>
                    <a:pt x="7612333" y="359728"/>
                  </a:lnTo>
                  <a:lnTo>
                    <a:pt x="0" y="36512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Google Shape;343;p10">
            <a:extLst>
              <a:ext uri="{FF2B5EF4-FFF2-40B4-BE49-F238E27FC236}">
                <a16:creationId xmlns:a16="http://schemas.microsoft.com/office/drawing/2014/main" id="{C0730593-F4E3-43E3-BAEF-0A50CC139521}"/>
              </a:ext>
            </a:extLst>
          </p:cNvPr>
          <p:cNvSpPr txBox="1">
            <a:spLocks/>
          </p:cNvSpPr>
          <p:nvPr/>
        </p:nvSpPr>
        <p:spPr>
          <a:xfrm>
            <a:off x="6721048" y="2722086"/>
            <a:ext cx="2447925" cy="1325563"/>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Poppins" panose="00000500000000000000" pitchFamily="2" charset="0"/>
                <a:ea typeface="Calibri"/>
                <a:cs typeface="Poppins" panose="00000500000000000000" pitchFamily="2" charset="0"/>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gn="ctr">
              <a:buSzPts val="2800"/>
              <a:buNone/>
            </a:pPr>
            <a:r>
              <a:rPr lang="en-US" sz="1600" dirty="0">
                <a:solidFill>
                  <a:schemeClr val="tx1">
                    <a:lumMod val="75000"/>
                    <a:lumOff val="25000"/>
                  </a:schemeClr>
                </a:solidFill>
              </a:rPr>
              <a:t>SEWA Rural, </a:t>
            </a:r>
            <a:r>
              <a:rPr lang="en-US" sz="1600" dirty="0" err="1">
                <a:solidFill>
                  <a:schemeClr val="tx1">
                    <a:lumMod val="75000"/>
                    <a:lumOff val="25000"/>
                  </a:schemeClr>
                </a:solidFill>
              </a:rPr>
              <a:t>Jhagadia</a:t>
            </a:r>
            <a:r>
              <a:rPr lang="en-US" sz="1600" dirty="0">
                <a:solidFill>
                  <a:schemeClr val="tx1">
                    <a:lumMod val="75000"/>
                    <a:lumOff val="25000"/>
                  </a:schemeClr>
                </a:solidFill>
              </a:rPr>
              <a:t>- Training and technical guidance </a:t>
            </a:r>
          </a:p>
        </p:txBody>
      </p:sp>
      <p:sp>
        <p:nvSpPr>
          <p:cNvPr id="11" name="Google Shape;343;p10">
            <a:extLst>
              <a:ext uri="{FF2B5EF4-FFF2-40B4-BE49-F238E27FC236}">
                <a16:creationId xmlns:a16="http://schemas.microsoft.com/office/drawing/2014/main" id="{C7DBA210-3F48-4366-8382-03D5590BD584}"/>
              </a:ext>
            </a:extLst>
          </p:cNvPr>
          <p:cNvSpPr txBox="1">
            <a:spLocks/>
          </p:cNvSpPr>
          <p:nvPr/>
        </p:nvSpPr>
        <p:spPr>
          <a:xfrm>
            <a:off x="3023027" y="4755332"/>
            <a:ext cx="2447925" cy="1163409"/>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Poppins" panose="00000500000000000000" pitchFamily="2" charset="0"/>
                <a:ea typeface="Calibri"/>
                <a:cs typeface="Poppins" panose="00000500000000000000" pitchFamily="2" charset="0"/>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gn="ctr">
              <a:buSzPts val="2800"/>
              <a:buNone/>
            </a:pPr>
            <a:r>
              <a:rPr lang="en-US" sz="1600" dirty="0">
                <a:solidFill>
                  <a:schemeClr val="tx1">
                    <a:lumMod val="75000"/>
                    <a:lumOff val="25000"/>
                  </a:schemeClr>
                </a:solidFill>
              </a:rPr>
              <a:t>GVK EMRI - call center support</a:t>
            </a:r>
          </a:p>
        </p:txBody>
      </p:sp>
      <p:sp>
        <p:nvSpPr>
          <p:cNvPr id="12" name="Google Shape;343;p10">
            <a:extLst>
              <a:ext uri="{FF2B5EF4-FFF2-40B4-BE49-F238E27FC236}">
                <a16:creationId xmlns:a16="http://schemas.microsoft.com/office/drawing/2014/main" id="{7CBF7684-FAD8-4F9D-ACAA-ACA26A828D6D}"/>
              </a:ext>
            </a:extLst>
          </p:cNvPr>
          <p:cNvSpPr txBox="1">
            <a:spLocks/>
          </p:cNvSpPr>
          <p:nvPr/>
        </p:nvSpPr>
        <p:spPr>
          <a:xfrm>
            <a:off x="6781424" y="4821543"/>
            <a:ext cx="2447925" cy="1087209"/>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Poppins" panose="00000500000000000000" pitchFamily="2" charset="0"/>
                <a:ea typeface="Calibri"/>
                <a:cs typeface="Poppins" panose="00000500000000000000" pitchFamily="2" charset="0"/>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algn="ctr">
              <a:buSzPts val="2800"/>
              <a:buNone/>
            </a:pPr>
            <a:r>
              <a:rPr lang="en-US" sz="1600" dirty="0">
                <a:solidFill>
                  <a:schemeClr val="tx1">
                    <a:lumMod val="75000"/>
                    <a:lumOff val="25000"/>
                  </a:schemeClr>
                </a:solidFill>
              </a:rPr>
              <a:t>UNICEF - technical support</a:t>
            </a:r>
          </a:p>
        </p:txBody>
      </p:sp>
      <p:pic>
        <p:nvPicPr>
          <p:cNvPr id="4" name="Picture 3">
            <a:extLst>
              <a:ext uri="{FF2B5EF4-FFF2-40B4-BE49-F238E27FC236}">
                <a16:creationId xmlns:a16="http://schemas.microsoft.com/office/drawing/2014/main" id="{AA7FCCC0-A4D8-4B22-BB01-4144F50FA31B}"/>
              </a:ext>
            </a:extLst>
          </p:cNvPr>
          <p:cNvPicPr>
            <a:picLocks noChangeAspect="1"/>
          </p:cNvPicPr>
          <p:nvPr/>
        </p:nvPicPr>
        <p:blipFill>
          <a:blip r:embed="rId3"/>
          <a:stretch>
            <a:fillRect/>
          </a:stretch>
        </p:blipFill>
        <p:spPr>
          <a:xfrm>
            <a:off x="3023027" y="1840121"/>
            <a:ext cx="2154097" cy="889138"/>
          </a:xfrm>
          <a:prstGeom prst="rect">
            <a:avLst/>
          </a:prstGeom>
        </p:spPr>
      </p:pic>
      <p:pic>
        <p:nvPicPr>
          <p:cNvPr id="14" name="Picture 13" descr="A picture containing clipart&#10;&#10;Description automatically generated">
            <a:extLst>
              <a:ext uri="{FF2B5EF4-FFF2-40B4-BE49-F238E27FC236}">
                <a16:creationId xmlns:a16="http://schemas.microsoft.com/office/drawing/2014/main" id="{F5CAC88A-C030-4A9E-AB4E-3967100D9BCA}"/>
              </a:ext>
            </a:extLst>
          </p:cNvPr>
          <p:cNvPicPr>
            <a:picLocks noChangeAspect="1"/>
          </p:cNvPicPr>
          <p:nvPr/>
        </p:nvPicPr>
        <p:blipFill>
          <a:blip r:embed="rId4"/>
          <a:stretch>
            <a:fillRect/>
          </a:stretch>
        </p:blipFill>
        <p:spPr>
          <a:xfrm>
            <a:off x="7249332" y="1852806"/>
            <a:ext cx="1195388" cy="957546"/>
          </a:xfrm>
          <a:prstGeom prst="rect">
            <a:avLst/>
          </a:prstGeom>
        </p:spPr>
      </p:pic>
      <p:pic>
        <p:nvPicPr>
          <p:cNvPr id="16" name="Picture 15">
            <a:extLst>
              <a:ext uri="{FF2B5EF4-FFF2-40B4-BE49-F238E27FC236}">
                <a16:creationId xmlns:a16="http://schemas.microsoft.com/office/drawing/2014/main" id="{0670BE4C-F037-408D-8F6D-EA2F237DB203}"/>
              </a:ext>
            </a:extLst>
          </p:cNvPr>
          <p:cNvPicPr>
            <a:picLocks noChangeAspect="1"/>
          </p:cNvPicPr>
          <p:nvPr/>
        </p:nvPicPr>
        <p:blipFill>
          <a:blip r:embed="rId5"/>
          <a:stretch>
            <a:fillRect/>
          </a:stretch>
        </p:blipFill>
        <p:spPr>
          <a:xfrm>
            <a:off x="7370671" y="3883047"/>
            <a:ext cx="1127832" cy="844786"/>
          </a:xfrm>
          <a:prstGeom prst="rect">
            <a:avLst/>
          </a:prstGeom>
        </p:spPr>
      </p:pic>
      <p:pic>
        <p:nvPicPr>
          <p:cNvPr id="18" name="Picture 17">
            <a:extLst>
              <a:ext uri="{FF2B5EF4-FFF2-40B4-BE49-F238E27FC236}">
                <a16:creationId xmlns:a16="http://schemas.microsoft.com/office/drawing/2014/main" id="{F7E23C88-0CE5-4155-B1CA-DD26B271BD75}"/>
              </a:ext>
            </a:extLst>
          </p:cNvPr>
          <p:cNvPicPr>
            <a:picLocks noChangeAspect="1"/>
          </p:cNvPicPr>
          <p:nvPr/>
        </p:nvPicPr>
        <p:blipFill rotWithShape="1">
          <a:blip r:embed="rId6"/>
          <a:srcRect l="12069" t="23562" r="18587" b="34402"/>
          <a:stretch/>
        </p:blipFill>
        <p:spPr>
          <a:xfrm>
            <a:off x="3226578" y="3964938"/>
            <a:ext cx="1915452" cy="696684"/>
          </a:xfrm>
          <a:prstGeom prst="rect">
            <a:avLst/>
          </a:prstGeom>
        </p:spPr>
      </p:pic>
    </p:spTree>
    <p:extLst>
      <p:ext uri="{BB962C8B-B14F-4D97-AF65-F5344CB8AC3E}">
        <p14:creationId xmlns:p14="http://schemas.microsoft.com/office/powerpoint/2010/main" val="116014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9971314" y="2467429"/>
            <a:ext cx="184731" cy="369332"/>
          </a:xfrm>
          <a:prstGeom prst="rect">
            <a:avLst/>
          </a:prstGeom>
          <a:noFill/>
        </p:spPr>
        <p:txBody>
          <a:bodyPr wrap="none" rtlCol="0">
            <a:spAutoFit/>
          </a:bodyPr>
          <a:lstStyle/>
          <a:p>
            <a:endParaRPr lang="en-GB" dirty="0"/>
          </a:p>
        </p:txBody>
      </p:sp>
      <p:sp>
        <p:nvSpPr>
          <p:cNvPr id="6" name="Title 1"/>
          <p:cNvSpPr>
            <a:spLocks noGrp="1"/>
          </p:cNvSpPr>
          <p:nvPr>
            <p:ph type="ctrTitle"/>
          </p:nvPr>
        </p:nvSpPr>
        <p:spPr>
          <a:xfrm>
            <a:off x="0" y="0"/>
            <a:ext cx="12192000" cy="895739"/>
          </a:xfrm>
          <a:ln>
            <a:noFill/>
          </a:ln>
        </p:spPr>
        <p:txBody>
          <a:bodyPr>
            <a:noAutofit/>
          </a:bodyPr>
          <a:lstStyle/>
          <a:p>
            <a:pPr algn="ctr">
              <a:lnSpc>
                <a:spcPct val="150000"/>
              </a:lnSpc>
            </a:pPr>
            <a:r>
              <a:rPr lang="en-IN" sz="3200" b="1" dirty="0">
                <a:solidFill>
                  <a:srgbClr val="0070C0"/>
                </a:solidFill>
                <a:latin typeface="Cambria" panose="02040503050406030204" pitchFamily="18" charset="0"/>
              </a:rPr>
              <a:t>Way Forward</a:t>
            </a:r>
            <a:endParaRPr lang="en-GB" sz="3200" b="1" dirty="0">
              <a:solidFill>
                <a:srgbClr val="0070C0"/>
              </a:solidFill>
              <a:latin typeface="Cambria" panose="02040503050406030204" pitchFamily="18" charset="0"/>
            </a:endParaRPr>
          </a:p>
        </p:txBody>
      </p:sp>
      <p:sp>
        <p:nvSpPr>
          <p:cNvPr id="8" name="Subtitle 2"/>
          <p:cNvSpPr>
            <a:spLocks noGrp="1"/>
          </p:cNvSpPr>
          <p:nvPr>
            <p:ph type="subTitle" idx="1"/>
          </p:nvPr>
        </p:nvSpPr>
        <p:spPr>
          <a:xfrm>
            <a:off x="429209" y="1205329"/>
            <a:ext cx="11271380" cy="5270116"/>
          </a:xfrm>
          <a:ln>
            <a:noFill/>
          </a:ln>
        </p:spPr>
        <p:txBody>
          <a:bodyPr>
            <a:noAutofit/>
          </a:bodyPr>
          <a:lstStyle/>
          <a:p>
            <a:pPr marL="342900" indent="-342900" algn="just">
              <a:lnSpc>
                <a:spcPct val="200000"/>
              </a:lnSpc>
              <a:spcBef>
                <a:spcPts val="0"/>
              </a:spcBef>
              <a:buFont typeface="Arial" panose="020B0604020202020204" pitchFamily="34" charset="0"/>
              <a:buChar char="•"/>
            </a:pPr>
            <a:r>
              <a:rPr lang="en-IN" dirty="0">
                <a:latin typeface="Cambria" panose="02040503050406030204" pitchFamily="18" charset="0"/>
              </a:rPr>
              <a:t>Work in progress to include mental health, RBSK, Blindness Control Program </a:t>
            </a:r>
          </a:p>
          <a:p>
            <a:pPr marL="342900" indent="-342900" algn="just">
              <a:lnSpc>
                <a:spcPct val="200000"/>
              </a:lnSpc>
              <a:spcBef>
                <a:spcPts val="0"/>
              </a:spcBef>
              <a:buFont typeface="Arial" panose="020B0604020202020204" pitchFamily="34" charset="0"/>
              <a:buChar char="•"/>
            </a:pPr>
            <a:r>
              <a:rPr lang="en-IN" dirty="0">
                <a:latin typeface="Cambria" panose="02040503050406030204" pitchFamily="18" charset="0"/>
              </a:rPr>
              <a:t>Integration with Birth Registration System and CAS-ICDS </a:t>
            </a:r>
          </a:p>
          <a:p>
            <a:pPr marL="342900" indent="-342900" algn="just">
              <a:lnSpc>
                <a:spcPct val="200000"/>
              </a:lnSpc>
              <a:spcBef>
                <a:spcPts val="0"/>
              </a:spcBef>
              <a:buFont typeface="Arial" panose="020B0604020202020204" pitchFamily="34" charset="0"/>
              <a:buChar char="•"/>
            </a:pPr>
            <a:r>
              <a:rPr lang="en-IN" dirty="0">
                <a:latin typeface="Cambria" panose="02040503050406030204" pitchFamily="18" charset="0"/>
              </a:rPr>
              <a:t>Linkages and support to other departments such as Education/ WCD</a:t>
            </a:r>
          </a:p>
          <a:p>
            <a:pPr marL="342900" indent="-342900" algn="just">
              <a:lnSpc>
                <a:spcPct val="200000"/>
              </a:lnSpc>
              <a:spcBef>
                <a:spcPts val="0"/>
              </a:spcBef>
              <a:buFont typeface="Arial" panose="020B0604020202020204" pitchFamily="34" charset="0"/>
              <a:buChar char="•"/>
            </a:pPr>
            <a:r>
              <a:rPr lang="en-IN" dirty="0">
                <a:latin typeface="Cambria" panose="02040503050406030204" pitchFamily="18" charset="0"/>
              </a:rPr>
              <a:t>Linkages with Aadhar for improving accuracy of </a:t>
            </a:r>
            <a:r>
              <a:rPr lang="en-IN" dirty="0" err="1">
                <a:latin typeface="Cambria" panose="02040503050406030204" pitchFamily="18" charset="0"/>
              </a:rPr>
              <a:t>TeCHO</a:t>
            </a:r>
            <a:r>
              <a:rPr lang="en-IN" dirty="0">
                <a:latin typeface="Cambria" panose="02040503050406030204" pitchFamily="18" charset="0"/>
              </a:rPr>
              <a:t>+ Data</a:t>
            </a:r>
          </a:p>
          <a:p>
            <a:pPr marL="342900" indent="-342900" algn="just">
              <a:lnSpc>
                <a:spcPct val="200000"/>
              </a:lnSpc>
              <a:spcBef>
                <a:spcPts val="0"/>
              </a:spcBef>
              <a:buFont typeface="Arial" panose="020B0604020202020204" pitchFamily="34" charset="0"/>
              <a:buChar char="•"/>
            </a:pPr>
            <a:r>
              <a:rPr lang="en-IN" dirty="0">
                <a:latin typeface="Cambria" panose="02040503050406030204" pitchFamily="18" charset="0"/>
              </a:rPr>
              <a:t>Will be happy to help other states implement </a:t>
            </a:r>
            <a:r>
              <a:rPr lang="en-IN" dirty="0" err="1">
                <a:latin typeface="Cambria" panose="02040503050406030204" pitchFamily="18" charset="0"/>
              </a:rPr>
              <a:t>TeCHO</a:t>
            </a:r>
            <a:endParaRPr lang="en-IN" dirty="0">
              <a:latin typeface="Cambria" panose="02040503050406030204" pitchFamily="18" charset="0"/>
            </a:endParaRPr>
          </a:p>
        </p:txBody>
      </p:sp>
    </p:spTree>
    <p:extLst>
      <p:ext uri="{BB962C8B-B14F-4D97-AF65-F5344CB8AC3E}">
        <p14:creationId xmlns:p14="http://schemas.microsoft.com/office/powerpoint/2010/main" val="18434242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0DA8656-4737-8044-8378-211021390650}"/>
              </a:ext>
            </a:extLst>
          </p:cNvPr>
          <p:cNvSpPr>
            <a:spLocks noGrp="1"/>
          </p:cNvSpPr>
          <p:nvPr>
            <p:ph type="title"/>
          </p:nvPr>
        </p:nvSpPr>
        <p:spPr>
          <a:xfrm>
            <a:off x="3043002" y="2823512"/>
            <a:ext cx="8310797" cy="1325563"/>
          </a:xfrm>
        </p:spPr>
        <p:txBody>
          <a:bodyPr>
            <a:normAutofit/>
          </a:bodyPr>
          <a:lstStyle/>
          <a:p>
            <a:r>
              <a:rPr lang="en-US" sz="5400" dirty="0"/>
              <a:t>Thank You</a:t>
            </a:r>
          </a:p>
        </p:txBody>
      </p:sp>
    </p:spTree>
    <p:extLst>
      <p:ext uri="{BB962C8B-B14F-4D97-AF65-F5344CB8AC3E}">
        <p14:creationId xmlns:p14="http://schemas.microsoft.com/office/powerpoint/2010/main" val="25474770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3BB45-E207-E94F-8596-33E92D964D30}"/>
              </a:ext>
            </a:extLst>
          </p:cNvPr>
          <p:cNvSpPr>
            <a:spLocks noGrp="1"/>
          </p:cNvSpPr>
          <p:nvPr>
            <p:ph type="title"/>
          </p:nvPr>
        </p:nvSpPr>
        <p:spPr/>
        <p:txBody>
          <a:bodyPr/>
          <a:lstStyle/>
          <a:p>
            <a:r>
              <a:rPr lang="en-US" dirty="0"/>
              <a:t>Data Sources for Health Indicators</a:t>
            </a:r>
          </a:p>
        </p:txBody>
      </p:sp>
      <p:graphicFrame>
        <p:nvGraphicFramePr>
          <p:cNvPr id="4" name="Content Placeholder 3">
            <a:extLst>
              <a:ext uri="{FF2B5EF4-FFF2-40B4-BE49-F238E27FC236}">
                <a16:creationId xmlns:a16="http://schemas.microsoft.com/office/drawing/2014/main" id="{B0277A42-E7B5-4843-B3C3-80C5256466F1}"/>
              </a:ext>
            </a:extLst>
          </p:cNvPr>
          <p:cNvGraphicFramePr>
            <a:graphicFrameLocks noGrp="1"/>
          </p:cNvGraphicFramePr>
          <p:nvPr>
            <p:ph idx="1"/>
            <p:extLst>
              <p:ext uri="{D42A27DB-BD31-4B8C-83A1-F6EECF244321}">
                <p14:modId xmlns:p14="http://schemas.microsoft.com/office/powerpoint/2010/main" val="205663985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899842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425A4-D7C3-E048-9ADA-E4D875390C00}"/>
              </a:ext>
            </a:extLst>
          </p:cNvPr>
          <p:cNvSpPr>
            <a:spLocks noGrp="1"/>
          </p:cNvSpPr>
          <p:nvPr>
            <p:ph type="title"/>
          </p:nvPr>
        </p:nvSpPr>
        <p:spPr>
          <a:xfrm>
            <a:off x="614597" y="365125"/>
            <a:ext cx="11167671" cy="1325563"/>
          </a:xfrm>
        </p:spPr>
        <p:txBody>
          <a:bodyPr/>
          <a:lstStyle/>
          <a:p>
            <a:r>
              <a:rPr lang="en-IN" b="1" dirty="0">
                <a:solidFill>
                  <a:srgbClr val="0070C0"/>
                </a:solidFill>
                <a:latin typeface="Cambria" panose="02040503050406030204" pitchFamily="18" charset="0"/>
              </a:rPr>
              <a:t>Current Challenges in health Data management</a:t>
            </a:r>
            <a:r>
              <a:rPr lang="en-US" dirty="0"/>
              <a:t> </a:t>
            </a:r>
          </a:p>
        </p:txBody>
      </p:sp>
      <p:graphicFrame>
        <p:nvGraphicFramePr>
          <p:cNvPr id="4" name="Content Placeholder 3">
            <a:extLst>
              <a:ext uri="{FF2B5EF4-FFF2-40B4-BE49-F238E27FC236}">
                <a16:creationId xmlns:a16="http://schemas.microsoft.com/office/drawing/2014/main" id="{3AF3BC27-5312-F146-A373-FD71B699405B}"/>
              </a:ext>
            </a:extLst>
          </p:cNvPr>
          <p:cNvGraphicFramePr>
            <a:graphicFrameLocks noGrp="1"/>
          </p:cNvGraphicFramePr>
          <p:nvPr>
            <p:ph idx="1"/>
            <p:extLst>
              <p:ext uri="{D42A27DB-BD31-4B8C-83A1-F6EECF244321}">
                <p14:modId xmlns:p14="http://schemas.microsoft.com/office/powerpoint/2010/main" val="188071674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83217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54743"/>
            <a:ext cx="5598582" cy="5413829"/>
          </a:xfrm>
          <a:prstGeom prst="rect">
            <a:avLst/>
          </a:prstGeom>
        </p:spPr>
      </p:pic>
      <p:sp>
        <p:nvSpPr>
          <p:cNvPr id="7" name="TextBox 6"/>
          <p:cNvSpPr txBox="1"/>
          <p:nvPr/>
        </p:nvSpPr>
        <p:spPr>
          <a:xfrm>
            <a:off x="9971314" y="2467429"/>
            <a:ext cx="184731" cy="369332"/>
          </a:xfrm>
          <a:prstGeom prst="rect">
            <a:avLst/>
          </a:prstGeom>
          <a:noFill/>
        </p:spPr>
        <p:txBody>
          <a:bodyPr wrap="none" rtlCol="0">
            <a:spAutoFit/>
          </a:bodyPr>
          <a:lstStyle/>
          <a:p>
            <a:endParaRPr lang="en-GB"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8971" y="1694152"/>
            <a:ext cx="3744685" cy="3744685"/>
          </a:xfrm>
          <a:prstGeom prst="rect">
            <a:avLst/>
          </a:prstGeom>
        </p:spPr>
      </p:pic>
      <p:sp>
        <p:nvSpPr>
          <p:cNvPr id="10" name="Right Arrow 9"/>
          <p:cNvSpPr/>
          <p:nvPr/>
        </p:nvSpPr>
        <p:spPr>
          <a:xfrm>
            <a:off x="5428342" y="3087522"/>
            <a:ext cx="2191657" cy="13828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b="1" dirty="0">
              <a:latin typeface="Cambria" panose="02040503050406030204" pitchFamily="18" charset="0"/>
            </a:endParaRPr>
          </a:p>
        </p:txBody>
      </p:sp>
    </p:spTree>
    <p:extLst>
      <p:ext uri="{BB962C8B-B14F-4D97-AF65-F5344CB8AC3E}">
        <p14:creationId xmlns:p14="http://schemas.microsoft.com/office/powerpoint/2010/main" val="1153999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653143"/>
          </a:xfrm>
        </p:spPr>
        <p:txBody>
          <a:bodyPr>
            <a:normAutofit/>
          </a:bodyPr>
          <a:lstStyle/>
          <a:p>
            <a:pPr algn="ctr"/>
            <a:r>
              <a:rPr lang="en-IN" sz="3200" b="1" dirty="0">
                <a:solidFill>
                  <a:srgbClr val="0070C0"/>
                </a:solidFill>
                <a:latin typeface="Cambria" panose="02040503050406030204" pitchFamily="18" charset="0"/>
              </a:rPr>
              <a:t>Journey of TeCHO+ program in Gujarat</a:t>
            </a:r>
            <a:endParaRPr lang="en-GB" sz="3200" b="1" dirty="0">
              <a:solidFill>
                <a:srgbClr val="0070C0"/>
              </a:solidFill>
              <a:latin typeface="Cambria" panose="02040503050406030204" pitchFamily="18" charset="0"/>
            </a:endParaRPr>
          </a:p>
        </p:txBody>
      </p:sp>
      <p:graphicFrame>
        <p:nvGraphicFramePr>
          <p:cNvPr id="4" name="Diagram 3"/>
          <p:cNvGraphicFramePr/>
          <p:nvPr>
            <p:extLst>
              <p:ext uri="{D42A27DB-BD31-4B8C-83A1-F6EECF244321}">
                <p14:modId xmlns:p14="http://schemas.microsoft.com/office/powerpoint/2010/main" val="2841402907"/>
              </p:ext>
            </p:extLst>
          </p:nvPr>
        </p:nvGraphicFramePr>
        <p:xfrm>
          <a:off x="0" y="451743"/>
          <a:ext cx="12192000" cy="37301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C:\Users\Admin\Pictures\ImTeCHO Anroid big poster\11.jpg"/>
          <p:cNvPicPr>
            <a:picLocks noGrp="1" noChangeAspect="1" noChangeArrowheads="1"/>
          </p:cNvPicPr>
          <p:nvPr>
            <p:ph sz="half" idx="1"/>
          </p:nvPr>
        </p:nvPicPr>
        <p:blipFill>
          <a:blip r:embed="rId7" cstate="print">
            <a:extLst>
              <a:ext uri="{28A0092B-C50C-407E-A947-70E740481C1C}">
                <a14:useLocalDpi xmlns:a14="http://schemas.microsoft.com/office/drawing/2010/main" val="0"/>
              </a:ext>
            </a:extLst>
          </a:blip>
          <a:srcRect/>
          <a:stretch>
            <a:fillRect/>
          </a:stretch>
        </p:blipFill>
        <p:spPr>
          <a:xfrm>
            <a:off x="2031926" y="3980513"/>
            <a:ext cx="1834615" cy="2610464"/>
          </a:xfrm>
        </p:spPr>
      </p:pic>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14465" y="3980513"/>
            <a:ext cx="1684002" cy="2610464"/>
          </a:xfrm>
          <a:prstGeom prst="rect">
            <a:avLst/>
          </a:prstGeom>
        </p:spPr>
      </p:pic>
      <p:pic>
        <p:nvPicPr>
          <p:cNvPr id="8" name="Pictur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46391" y="3980513"/>
            <a:ext cx="1658364" cy="2610464"/>
          </a:xfrm>
          <a:prstGeom prst="rect">
            <a:avLst/>
          </a:prstGeom>
        </p:spPr>
      </p:pic>
      <p:pic>
        <p:nvPicPr>
          <p:cNvPr id="9" name="Picture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252679" y="3980513"/>
            <a:ext cx="1768460" cy="2610464"/>
          </a:xfrm>
          <a:prstGeom prst="rect">
            <a:avLst/>
          </a:prstGeom>
        </p:spPr>
      </p:pic>
      <p:pic>
        <p:nvPicPr>
          <p:cNvPr id="10" name="Picture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76973" y="3980513"/>
            <a:ext cx="1659193" cy="2610465"/>
          </a:xfrm>
          <a:prstGeom prst="rect">
            <a:avLst/>
          </a:prstGeom>
        </p:spPr>
      </p:pic>
      <p:pic>
        <p:nvPicPr>
          <p:cNvPr id="2050" name="Picture 2" descr="Image result for nokia 3310 old"/>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0325" y="3980513"/>
            <a:ext cx="1957848" cy="2610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4240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16123" y="3267856"/>
            <a:ext cx="6734630" cy="3474028"/>
          </a:xfrm>
          <a:prstGeom prst="rect">
            <a:avLst/>
          </a:prstGeom>
        </p:spPr>
      </p:pic>
      <p:sp>
        <p:nvSpPr>
          <p:cNvPr id="7" name="TextBox 6"/>
          <p:cNvSpPr txBox="1"/>
          <p:nvPr/>
        </p:nvSpPr>
        <p:spPr>
          <a:xfrm>
            <a:off x="9971314" y="2467429"/>
            <a:ext cx="184731" cy="369332"/>
          </a:xfrm>
          <a:prstGeom prst="rect">
            <a:avLst/>
          </a:prstGeom>
          <a:noFill/>
        </p:spPr>
        <p:txBody>
          <a:bodyPr wrap="none" rtlCol="0">
            <a:spAutoFit/>
          </a:bodyPr>
          <a:lstStyle/>
          <a:p>
            <a:endParaRPr lang="en-GB" dirty="0"/>
          </a:p>
        </p:txBody>
      </p:sp>
      <p:sp>
        <p:nvSpPr>
          <p:cNvPr id="6" name="Title 1"/>
          <p:cNvSpPr>
            <a:spLocks noGrp="1"/>
          </p:cNvSpPr>
          <p:nvPr>
            <p:ph type="title"/>
          </p:nvPr>
        </p:nvSpPr>
        <p:spPr/>
        <p:txBody>
          <a:bodyPr>
            <a:noAutofit/>
          </a:bodyPr>
          <a:lstStyle/>
          <a:p>
            <a:pPr algn="ctr">
              <a:lnSpc>
                <a:spcPct val="150000"/>
              </a:lnSpc>
            </a:pPr>
            <a:r>
              <a:rPr lang="en-IN" sz="3200" b="1" dirty="0">
                <a:solidFill>
                  <a:srgbClr val="0070C0"/>
                </a:solidFill>
                <a:latin typeface="Cambria" panose="02040503050406030204" pitchFamily="18" charset="0"/>
              </a:rPr>
              <a:t>TeCHO+: a digital health data transformation in making  . . . </a:t>
            </a:r>
            <a:endParaRPr lang="en-GB" sz="3200" b="1" dirty="0">
              <a:solidFill>
                <a:srgbClr val="0070C0"/>
              </a:solidFill>
              <a:latin typeface="Cambria" panose="02040503050406030204" pitchFamily="18" charset="0"/>
            </a:endParaRPr>
          </a:p>
        </p:txBody>
      </p:sp>
      <p:graphicFrame>
        <p:nvGraphicFramePr>
          <p:cNvPr id="5" name="Content Placeholder 4">
            <a:extLst>
              <a:ext uri="{FF2B5EF4-FFF2-40B4-BE49-F238E27FC236}">
                <a16:creationId xmlns:a16="http://schemas.microsoft.com/office/drawing/2014/main" id="{AF9A7490-0576-9046-8B9B-6EE5E3BA21FD}"/>
              </a:ext>
            </a:extLst>
          </p:cNvPr>
          <p:cNvGraphicFramePr>
            <a:graphicFrameLocks noGrp="1"/>
          </p:cNvGraphicFramePr>
          <p:nvPr>
            <p:ph sz="half" idx="1"/>
            <p:extLst>
              <p:ext uri="{D42A27DB-BD31-4B8C-83A1-F6EECF244321}">
                <p14:modId xmlns:p14="http://schemas.microsoft.com/office/powerpoint/2010/main" val="2487718678"/>
              </p:ext>
            </p:extLst>
          </p:nvPr>
        </p:nvGraphicFramePr>
        <p:xfrm>
          <a:off x="3002795" y="1964128"/>
          <a:ext cx="5181601" cy="26074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87144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D9C1EB2-F77F-4252-B842-AE51A4147E19}"/>
              </a:ext>
            </a:extLst>
          </p:cNvPr>
          <p:cNvSpPr>
            <a:spLocks noGrp="1"/>
          </p:cNvSpPr>
          <p:nvPr>
            <p:ph type="sldNum" sz="quarter" idx="12"/>
          </p:nvPr>
        </p:nvSpPr>
        <p:spPr>
          <a:xfrm>
            <a:off x="9568666" y="5624513"/>
            <a:ext cx="470685" cy="273844"/>
          </a:xfrm>
        </p:spPr>
        <p:txBody>
          <a:bodyPr vert="horz" lIns="68580" tIns="34290" rIns="68580" bIns="34290" rtlCol="0" anchor="ctr">
            <a:normAutofit/>
          </a:bodyPr>
          <a:lstStyle/>
          <a:p>
            <a:pPr>
              <a:spcAft>
                <a:spcPts val="450"/>
              </a:spcAft>
            </a:pPr>
            <a:fld id="{2A477851-D9BB-4E53-9300-2E55C74469EE}" type="slidenum">
              <a:rPr lang="en-US">
                <a:solidFill>
                  <a:prstClr val="black">
                    <a:tint val="75000"/>
                  </a:prstClr>
                </a:solidFill>
                <a:latin typeface="Cambria" panose="02040503050406030204" pitchFamily="18" charset="0"/>
              </a:rPr>
              <a:pPr>
                <a:spcAft>
                  <a:spcPts val="450"/>
                </a:spcAft>
              </a:pPr>
              <a:t>8</a:t>
            </a:fld>
            <a:endParaRPr lang="en-US">
              <a:solidFill>
                <a:prstClr val="black">
                  <a:tint val="75000"/>
                </a:prstClr>
              </a:solidFill>
              <a:latin typeface="Cambria" panose="02040503050406030204" pitchFamily="18" charset="0"/>
            </a:endParaRPr>
          </a:p>
        </p:txBody>
      </p:sp>
      <p:graphicFrame>
        <p:nvGraphicFramePr>
          <p:cNvPr id="11" name="Content Placeholder 8">
            <a:extLst>
              <a:ext uri="{FF2B5EF4-FFF2-40B4-BE49-F238E27FC236}">
                <a16:creationId xmlns:a16="http://schemas.microsoft.com/office/drawing/2014/main" id="{607131AC-3C0D-4800-B38E-32DB0D3F8164}"/>
              </a:ext>
            </a:extLst>
          </p:cNvPr>
          <p:cNvGraphicFramePr>
            <a:graphicFrameLocks noGrp="1"/>
          </p:cNvGraphicFramePr>
          <p:nvPr>
            <p:ph sz="half" idx="1"/>
            <p:extLst>
              <p:ext uri="{D42A27DB-BD31-4B8C-83A1-F6EECF244321}">
                <p14:modId xmlns:p14="http://schemas.microsoft.com/office/powerpoint/2010/main" val="1363815163"/>
              </p:ext>
            </p:extLst>
          </p:nvPr>
        </p:nvGraphicFramePr>
        <p:xfrm>
          <a:off x="0" y="1309041"/>
          <a:ext cx="4516016" cy="5298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p:cNvSpPr txBox="1">
            <a:spLocks/>
          </p:cNvSpPr>
          <p:nvPr/>
        </p:nvSpPr>
        <p:spPr>
          <a:xfrm>
            <a:off x="0" y="0"/>
            <a:ext cx="12192000" cy="89573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50000"/>
              </a:lnSpc>
            </a:pPr>
            <a:r>
              <a:rPr lang="en-IN" sz="3200" b="1" dirty="0">
                <a:solidFill>
                  <a:srgbClr val="0070C0"/>
                </a:solidFill>
                <a:latin typeface="Cambria" panose="02040503050406030204" pitchFamily="18" charset="0"/>
              </a:rPr>
              <a:t>Features of TeCHO+ </a:t>
            </a:r>
            <a:endParaRPr lang="en-GB" sz="3200" b="1" dirty="0">
              <a:solidFill>
                <a:srgbClr val="0070C0"/>
              </a:solidFill>
              <a:latin typeface="Cambria" panose="02040503050406030204" pitchFamily="18" charset="0"/>
            </a:endParaRPr>
          </a:p>
        </p:txBody>
      </p:sp>
      <p:pic>
        <p:nvPicPr>
          <p:cNvPr id="9" name="Content Placeholder 5"/>
          <p:cNvPicPr>
            <a:picLocks noGrp="1" noChangeAspect="1"/>
          </p:cNvPicPr>
          <p:nvPr>
            <p:ph sz="half" idx="1"/>
          </p:nvPr>
        </p:nvPicPr>
        <p:blipFill>
          <a:blip r:embed="rId8" cstate="print">
            <a:extLst>
              <a:ext uri="{28A0092B-C50C-407E-A947-70E740481C1C}">
                <a14:useLocalDpi xmlns:a14="http://schemas.microsoft.com/office/drawing/2010/main" val="0"/>
              </a:ext>
            </a:extLst>
          </a:blip>
          <a:stretch>
            <a:fillRect/>
          </a:stretch>
        </p:blipFill>
        <p:spPr>
          <a:xfrm>
            <a:off x="4870580" y="1310774"/>
            <a:ext cx="7321420" cy="4883020"/>
          </a:xfrm>
        </p:spPr>
      </p:pic>
    </p:spTree>
    <p:extLst>
      <p:ext uri="{BB962C8B-B14F-4D97-AF65-F5344CB8AC3E}">
        <p14:creationId xmlns:p14="http://schemas.microsoft.com/office/powerpoint/2010/main" val="29561167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810534143"/>
              </p:ext>
            </p:extLst>
          </p:nvPr>
        </p:nvGraphicFramePr>
        <p:xfrm>
          <a:off x="0" y="0"/>
          <a:ext cx="7389845"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descr="G:\attachments\IMG_20190819_120120.jpg"/>
          <p:cNvPicPr>
            <a:picLocks noChangeAspect="1" noChangeArrowheads="1"/>
          </p:cNvPicPr>
          <p:nvPr/>
        </p:nvPicPr>
        <p:blipFill rotWithShape="1">
          <a:blip r:embed="rId7"/>
          <a:srcRect l="23602" r="19493"/>
          <a:stretch/>
        </p:blipFill>
        <p:spPr bwMode="auto">
          <a:xfrm>
            <a:off x="7165910" y="747460"/>
            <a:ext cx="5026090" cy="536308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9006493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8</TotalTime>
  <Words>848</Words>
  <Application>Microsoft Macintosh PowerPoint</Application>
  <PresentationFormat>Widescreen</PresentationFormat>
  <Paragraphs>153</Paragraphs>
  <Slides>26</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Calibri Light</vt:lpstr>
      <vt:lpstr>Cambria</vt:lpstr>
      <vt:lpstr>Poppins</vt:lpstr>
      <vt:lpstr>Trebuchet MS</vt:lpstr>
      <vt:lpstr>Office Theme</vt:lpstr>
      <vt:lpstr>think-cell Slide</vt:lpstr>
      <vt:lpstr> A Digital Health Revolution</vt:lpstr>
      <vt:lpstr>PowerPoint Presentation</vt:lpstr>
      <vt:lpstr>Data Sources for Health Indicators</vt:lpstr>
      <vt:lpstr>Current Challenges in health Data management </vt:lpstr>
      <vt:lpstr>PowerPoint Presentation</vt:lpstr>
      <vt:lpstr>Journey of TeCHO+ program in Gujarat</vt:lpstr>
      <vt:lpstr>TeCHO+: a digital health data transformation in making  . . . </vt:lpstr>
      <vt:lpstr>PowerPoint Presentation</vt:lpstr>
      <vt:lpstr>PowerPoint Presentation</vt:lpstr>
      <vt:lpstr>Successful Roll out in entire state</vt:lpstr>
      <vt:lpstr>State of Health: A giant leap towards data transparency</vt:lpstr>
      <vt:lpstr>PowerPoint Presentation</vt:lpstr>
      <vt:lpstr>PowerPoint Presentation</vt:lpstr>
      <vt:lpstr>Tracking of MMR </vt:lpstr>
      <vt:lpstr>Continuum of Care using TeCHO+</vt:lpstr>
      <vt:lpstr>PowerPoint Presentation</vt:lpstr>
      <vt:lpstr>Big Data</vt:lpstr>
      <vt:lpstr>CM Dashboard  ( 11 indicators from TeCHO+)</vt:lpstr>
      <vt:lpstr>PowerPoint Presentation</vt:lpstr>
      <vt:lpstr>PowerPoint Presentation</vt:lpstr>
      <vt:lpstr>PowerPoint Presentation</vt:lpstr>
      <vt:lpstr>PowerPoint Presentation</vt:lpstr>
      <vt:lpstr>Ranking of Departments/ Districts</vt:lpstr>
      <vt:lpstr>Partners </vt:lpstr>
      <vt:lpstr>Way Forward</vt:lpstr>
      <vt:lpstr>Thank You</vt:lpstr>
    </vt:vector>
  </TitlesOfParts>
  <Company>Grizli777</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O+ </dc:title>
  <dc:creator>APURVA RATNU</dc:creator>
  <cp:lastModifiedBy>JP Shivahare</cp:lastModifiedBy>
  <cp:revision>51</cp:revision>
  <dcterms:created xsi:type="dcterms:W3CDTF">2019-11-16T13:38:48Z</dcterms:created>
  <dcterms:modified xsi:type="dcterms:W3CDTF">2019-11-17T02:46:15Z</dcterms:modified>
</cp:coreProperties>
</file>